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8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6"/>
  </p:sldMasterIdLst>
  <p:notesMasterIdLst>
    <p:notesMasterId r:id="rId19"/>
  </p:notesMasterIdLst>
  <p:handoutMasterIdLst>
    <p:handoutMasterId r:id="rId20"/>
  </p:handoutMasterIdLst>
  <p:sldIdLst>
    <p:sldId id="751" r:id="rId7"/>
    <p:sldId id="736" r:id="rId8"/>
    <p:sldId id="737" r:id="rId9"/>
    <p:sldId id="742" r:id="rId10"/>
    <p:sldId id="747" r:id="rId11"/>
    <p:sldId id="741" r:id="rId12"/>
    <p:sldId id="762" r:id="rId13"/>
    <p:sldId id="745" r:id="rId14"/>
    <p:sldId id="758" r:id="rId15"/>
    <p:sldId id="759" r:id="rId16"/>
    <p:sldId id="757" r:id="rId17"/>
    <p:sldId id="738" r:id="rId18"/>
  </p:sldIdLst>
  <p:sldSz cx="12192000" cy="6858000"/>
  <p:notesSz cx="6797675" cy="9928225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CE6F55AF-A2AE-4C08-8483-CE1E13F97491}">
          <p14:sldIdLst>
            <p14:sldId id="751"/>
            <p14:sldId id="736"/>
            <p14:sldId id="737"/>
            <p14:sldId id="742"/>
            <p14:sldId id="747"/>
            <p14:sldId id="741"/>
          </p14:sldIdLst>
        </p14:section>
        <p14:section name="Раздел без заголовка" id="{74039792-A944-4E76-868E-E871545A395A}">
          <p14:sldIdLst>
            <p14:sldId id="762"/>
            <p14:sldId id="745"/>
            <p14:sldId id="758"/>
            <p14:sldId id="759"/>
            <p14:sldId id="757"/>
            <p14:sldId id="73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Шлитер Татьяна Юрьевна" initials="ШТЮ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FFCC"/>
    <a:srgbClr val="FBFBFB"/>
    <a:srgbClr val="008E22"/>
    <a:srgbClr val="797600"/>
    <a:srgbClr val="BFBD00"/>
    <a:srgbClr val="004A12"/>
    <a:srgbClr val="00D633"/>
    <a:srgbClr val="93FFAD"/>
    <a:srgbClr val="00BC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607" autoAdjust="0"/>
    <p:restoredTop sz="94625" autoAdjust="0"/>
  </p:normalViewPr>
  <p:slideViewPr>
    <p:cSldViewPr snapToGrid="0" showGuides="1">
      <p:cViewPr varScale="1">
        <p:scale>
          <a:sx n="106" d="100"/>
          <a:sy n="106" d="100"/>
        </p:scale>
        <p:origin x="642" y="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3804" y="84"/>
      </p:cViewPr>
      <p:guideLst/>
    </p:cSldViewPr>
  </p:notesViewPr>
  <p:gridSpacing cx="59999" cy="599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2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3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4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5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6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7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02838063439065E-2"/>
          <c:y val="0.141602634467618"/>
          <c:w val="0.88021702838063443"/>
          <c:h val="0.7167947310647639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570951585976628"/>
                  <c:y val="2.1953896816684962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    80,228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6209-4DAD-8964-50544C69E9E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.48831385642737896"/>
                  <c:y val="2.1953896816684962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74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6209-4DAD-8964-50544C69E9E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#\ ##0.0;"-"#\ ##0.0</c:formatCode>
                <c:ptCount val="2"/>
                <c:pt idx="0">
                  <c:v>84.2</c:v>
                </c:pt>
                <c:pt idx="1">
                  <c:v>170.986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6209-4DAD-8964-50544C69E9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38848616"/>
        <c:axId val="238849400"/>
      </c:barChart>
      <c:catAx>
        <c:axId val="23884861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38849400"/>
        <c:crosses val="min"/>
        <c:auto val="0"/>
        <c:lblAlgn val="ctr"/>
        <c:lblOffset val="100"/>
        <c:noMultiLvlLbl val="0"/>
      </c:catAx>
      <c:valAx>
        <c:axId val="238849400"/>
        <c:scaling>
          <c:orientation val="minMax"/>
          <c:max val="170.98699999999999"/>
          <c:min val="0"/>
        </c:scaling>
        <c:delete val="1"/>
        <c:axPos val="t"/>
        <c:numFmt formatCode="#\ ##0.0;&quot;-&quot;#\ ##0.0" sourceLinked="1"/>
        <c:majorTickMark val="out"/>
        <c:minorTickMark val="none"/>
        <c:tickLblPos val="nextTo"/>
        <c:crossAx val="2388486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2271062271062272E-2"/>
          <c:y val="0.23626373626373626"/>
          <c:w val="0.74139194139194142"/>
          <c:h val="0.5274725274725274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5567765567765567"/>
                  <c:y val="3.663003663003663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43,058</a:t>
                    </a:r>
                    <a:endParaRPr lang="en-US" dirty="0"/>
                  </a:p>
                </c:rich>
              </c:tx>
              <c:numFmt formatCode="#,##0.00;&quot;-&quot;#,##0.0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D046-4936-96C0-6384BDB6274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44.7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046-4936-96C0-6384BDB627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38855280"/>
        <c:axId val="238849008"/>
      </c:barChart>
      <c:catAx>
        <c:axId val="23885528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38849008"/>
        <c:crosses val="min"/>
        <c:auto val="0"/>
        <c:lblAlgn val="ctr"/>
        <c:lblOffset val="100"/>
        <c:noMultiLvlLbl val="0"/>
      </c:catAx>
      <c:valAx>
        <c:axId val="238849008"/>
        <c:scaling>
          <c:orientation val="minMax"/>
          <c:max val="44.7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388552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249329758713138"/>
          <c:y val="0.22872340425531915"/>
          <c:w val="0.46327077747989276"/>
          <c:h val="0.5425531914893616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808080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32064343163538872"/>
                  <c:y val="3.5460992907801418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4051,79</a:t>
                    </a:r>
                    <a:endParaRPr lang="en-US" dirty="0"/>
                  </a:p>
                </c:rich>
              </c:tx>
              <c:numFmt formatCode="#,##0.00;&quot;-&quot;#,##0.0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6C41-4121-BED2-4D0E928C94E4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3823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C41-4121-BED2-4D0E928C94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38854104"/>
        <c:axId val="238850184"/>
      </c:barChart>
      <c:catAx>
        <c:axId val="23885410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38850184"/>
        <c:crosses val="min"/>
        <c:auto val="0"/>
        <c:lblAlgn val="ctr"/>
        <c:lblOffset val="100"/>
        <c:noMultiLvlLbl val="0"/>
      </c:catAx>
      <c:valAx>
        <c:axId val="238850184"/>
        <c:scaling>
          <c:orientation val="minMax"/>
          <c:max val="3823.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388541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9544235924932977"/>
          <c:y val="0.19111111111111112"/>
          <c:w val="0.26809651474530832"/>
          <c:h val="0.6177777777777777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1769436997319036"/>
                  <c:y val="2.9629629629629628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0FD1-403A-96DA-55347B9545C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.2230563002680965"/>
                  <c:y val="2.9629629629629628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0FD1-403A-96DA-55347B9545C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832.67</c:v>
                </c:pt>
                <c:pt idx="1">
                  <c:v>1908.6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0FD1-403A-96DA-55347B9545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38853320"/>
        <c:axId val="238850576"/>
      </c:barChart>
      <c:catAx>
        <c:axId val="23885332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38850576"/>
        <c:crosses val="min"/>
        <c:auto val="0"/>
        <c:lblAlgn val="ctr"/>
        <c:lblOffset val="100"/>
        <c:noMultiLvlLbl val="0"/>
      </c:catAx>
      <c:valAx>
        <c:axId val="238850576"/>
        <c:scaling>
          <c:orientation val="minMax"/>
          <c:max val="1908.6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388533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701627486437613E-2"/>
          <c:y val="0.2179054054054054"/>
          <c:w val="0.8309222423146474"/>
          <c:h val="0.5641891891891891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7468354430379744"/>
                  <c:y val="3.3783783783783786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94</a:t>
                    </a:r>
                    <a:endParaRPr lang="en-US" dirty="0"/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19D2-44DC-ABDB-976D6F3973D4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86.7870000000000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9D2-44DC-ABDB-976D6F3973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38850968"/>
        <c:axId val="238851360"/>
      </c:barChart>
      <c:catAx>
        <c:axId val="23885096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38851360"/>
        <c:crosses val="min"/>
        <c:auto val="0"/>
        <c:lblAlgn val="ctr"/>
        <c:lblOffset val="100"/>
        <c:noMultiLvlLbl val="0"/>
      </c:catAx>
      <c:valAx>
        <c:axId val="238851360"/>
        <c:scaling>
          <c:orientation val="minMax"/>
          <c:max val="86.78700000000000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388509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082774049217001E-2"/>
          <c:y val="2.9082774049217001E-2"/>
          <c:w val="0.94183445190156601"/>
          <c:h val="0.94183445190156601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80808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373D-463F-A438-84419A7CFA8E}"/>
              </c:ext>
            </c:extLst>
          </c:dPt>
          <c:dPt>
            <c:idx val="1"/>
            <c:bubble3D val="0"/>
            <c:spPr>
              <a:solidFill>
                <a:srgbClr val="969696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73D-463F-A438-84419A7CFA8E}"/>
              </c:ext>
            </c:extLst>
          </c:dPt>
          <c:dPt>
            <c:idx val="2"/>
            <c:bubble3D val="0"/>
            <c:spPr>
              <a:solidFill>
                <a:srgbClr val="C0C0C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373D-463F-A438-84419A7CFA8E}"/>
              </c:ext>
            </c:extLst>
          </c:dPt>
          <c:dPt>
            <c:idx val="3"/>
            <c:bubble3D val="0"/>
            <c:spPr>
              <a:solidFill>
                <a:srgbClr val="364D6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73D-463F-A438-84419A7CFA8E}"/>
              </c:ext>
            </c:extLst>
          </c:dPt>
          <c:dPt>
            <c:idx val="4"/>
            <c:bubble3D val="0"/>
            <c:spPr>
              <a:solidFill>
                <a:srgbClr val="4C6C9C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373D-463F-A438-84419A7CFA8E}"/>
              </c:ext>
            </c:extLst>
          </c:dPt>
          <c:dPt>
            <c:idx val="5"/>
            <c:bubble3D val="0"/>
            <c:spPr>
              <a:solidFill>
                <a:srgbClr val="DFE5EF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373D-463F-A438-84419A7CFA8E}"/>
              </c:ext>
            </c:extLst>
          </c:dPt>
          <c:dPt>
            <c:idx val="6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373D-463F-A438-84419A7CFA8E}"/>
              </c:ext>
            </c:extLst>
          </c:dPt>
          <c:val>
            <c:numRef>
              <c:f>Sheet1!$A$1:$A$7</c:f>
              <c:numCache>
                <c:formatCode>General</c:formatCode>
                <c:ptCount val="7"/>
                <c:pt idx="0">
                  <c:v>58.221468716614801</c:v>
                </c:pt>
                <c:pt idx="1">
                  <c:v>6.9069627014724331</c:v>
                </c:pt>
                <c:pt idx="2">
                  <c:v>2.2992243021041383</c:v>
                </c:pt>
                <c:pt idx="3">
                  <c:v>25.342561196525615</c:v>
                </c:pt>
                <c:pt idx="4">
                  <c:v>4.0364159970272651</c:v>
                </c:pt>
                <c:pt idx="5">
                  <c:v>0.28333875238051004</c:v>
                </c:pt>
                <c:pt idx="6">
                  <c:v>2.910028333875237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373D-463F-A438-84419A7CFA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4622030237581E-2"/>
          <c:y val="0.18235294117647058"/>
          <c:w val="0.95507559395248376"/>
          <c:h val="0.6911764705882352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921568627450980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865,03</a:t>
                    </a:r>
                    <a:endParaRPr lang="en-US" dirty="0"/>
                  </a:p>
                </c:rich>
              </c:tx>
              <c:numFmt formatCode="#,##0.00;&quot;-&quot;#,##0.0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242D-4DAF-924B-1BC1293B9E5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3872549019607843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242D-4DAF-924B-1BC1293B9E5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#\ ##0.00;"-"#\ ##0.00</c:formatCode>
                <c:ptCount val="2"/>
                <c:pt idx="0">
                  <c:v>1832.67</c:v>
                </c:pt>
                <c:pt idx="1">
                  <c:v>1804.8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242D-4DAF-924B-1BC1293B9E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06766048"/>
        <c:axId val="406766440"/>
      </c:barChart>
      <c:catAx>
        <c:axId val="4067660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06766440"/>
        <c:crosses val="min"/>
        <c:auto val="0"/>
        <c:lblAlgn val="ctr"/>
        <c:lblOffset val="100"/>
        <c:noMultiLvlLbl val="0"/>
      </c:catAx>
      <c:valAx>
        <c:axId val="406766440"/>
        <c:scaling>
          <c:orientation val="minMax"/>
          <c:max val="1882.82"/>
          <c:min val="0"/>
        </c:scaling>
        <c:delete val="1"/>
        <c:axPos val="l"/>
        <c:numFmt formatCode="#\ ##0.00;&quot;-&quot;#\ ##0.00" sourceLinked="1"/>
        <c:majorTickMark val="out"/>
        <c:minorTickMark val="none"/>
        <c:tickLblPos val="nextTo"/>
        <c:crossAx val="4067660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914677190633408E-2"/>
          <c:y val="0.1648148148148148"/>
          <c:w val="0.95149415992959285"/>
          <c:h val="0.708333333333333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759259259259259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00E-48AF-AF57-6324E7B731C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3564814814814814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400E-48AF-AF57-6324E7B731C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#\ ##0.0;"-"#\ ##0.0</c:formatCode>
                <c:ptCount val="2"/>
                <c:pt idx="0">
                  <c:v>26.803000000000001</c:v>
                </c:pt>
                <c:pt idx="1">
                  <c:v>25.14477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400E-48AF-AF57-6324E7B731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06766832"/>
        <c:axId val="406767224"/>
      </c:barChart>
      <c:catAx>
        <c:axId val="4067668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06767224"/>
        <c:crosses val="min"/>
        <c:auto val="0"/>
        <c:lblAlgn val="ctr"/>
        <c:lblOffset val="100"/>
        <c:noMultiLvlLbl val="0"/>
      </c:catAx>
      <c:valAx>
        <c:axId val="406767224"/>
        <c:scaling>
          <c:orientation val="minMax"/>
          <c:max val="29.38"/>
          <c:min val="0"/>
        </c:scaling>
        <c:delete val="1"/>
        <c:axPos val="l"/>
        <c:numFmt formatCode="#\ ##0.0;&quot;-&quot;#\ ##0.0" sourceLinked="1"/>
        <c:majorTickMark val="out"/>
        <c:minorTickMark val="none"/>
        <c:tickLblPos val="nextTo"/>
        <c:crossAx val="4067668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="" xmlns:a16="http://schemas.microsoft.com/office/drawing/2014/main" id="{3F120042-DE19-4A60-A65E-D372A0AD7D6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15D589F5-B5B1-4C39-AF4D-B7FD66FF2E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94F38C-7FED-4B93-A934-AE2D2B1F54F8}" type="datetimeFigureOut">
              <a:rPr lang="ru-RU" smtClean="0"/>
              <a:t>16.04.2026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FE87EA78-F1EE-447D-BF02-8591EAF592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48B45A96-9915-40E5-8CA7-93EBEEC7150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21E4C-C986-4718-9D9E-614AF5FF58C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589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62F4B1-53BF-4CEB-935B-B85CBB7C7FFD}" type="datetimeFigureOut">
              <a:rPr lang="ru-RU" smtClean="0"/>
              <a:t>16.04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65938-7C47-44BA-8EE7-44C4AA1CFE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51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35.xml"/><Relationship Id="rId7" Type="http://schemas.openxmlformats.org/officeDocument/2006/relationships/image" Target="../media/image11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4006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9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3048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64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8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99689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6781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6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4914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4754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114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47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1982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6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2659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0355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34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35283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138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1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83880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2543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92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40387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5437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2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76815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2678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68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4285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9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5707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8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73D65E33-BA15-4EA9-8902-2CCA09C138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1999" y="0"/>
            <a:ext cx="6350001" cy="6858000"/>
          </a:xfrm>
          <a:prstGeom prst="rect">
            <a:avLst/>
          </a:prstGeom>
        </p:spPr>
      </p:pic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3748905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4728392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accent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sp>
        <p:nvSpPr>
          <p:cNvPr id="44" name="Rectangle 43">
            <a:extLst>
              <a:ext uri="{FF2B5EF4-FFF2-40B4-BE49-F238E27FC236}">
                <a16:creationId xmlns="" xmlns:a16="http://schemas.microsoft.com/office/drawing/2014/main" id="{7BF148AC-0540-4140-826E-D8A069924931}"/>
              </a:ext>
            </a:extLst>
          </p:cNvPr>
          <p:cNvSpPr/>
          <p:nvPr userDrawn="1"/>
        </p:nvSpPr>
        <p:spPr>
          <a:xfrm>
            <a:off x="7172961" y="0"/>
            <a:ext cx="5019040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8000"/>
                </a:srgbClr>
              </a:gs>
              <a:gs pos="50000">
                <a:srgbClr val="000000">
                  <a:alpha val="0"/>
                </a:srgbClr>
              </a:gs>
            </a:gsLst>
            <a:lin ang="81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455" b="21818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="" xmlns:a16="http://schemas.microsoft.com/office/drawing/2014/main" id="{821E6D0C-E0F7-4B7E-AD91-5196AA0965F0}"/>
              </a:ext>
            </a:extLst>
          </p:cNvPr>
          <p:cNvGrpSpPr/>
          <p:nvPr userDrawn="1"/>
        </p:nvGrpSpPr>
        <p:grpSpPr>
          <a:xfrm>
            <a:off x="4331846" y="-1"/>
            <a:ext cx="2736445" cy="6856917"/>
            <a:chOff x="-3717926" y="327025"/>
            <a:chExt cx="2473326" cy="6197600"/>
          </a:xfrm>
        </p:grpSpPr>
        <p:sp>
          <p:nvSpPr>
            <p:cNvPr id="46" name="Freeform 87">
              <a:extLst>
                <a:ext uri="{FF2B5EF4-FFF2-40B4-BE49-F238E27FC236}">
                  <a16:creationId xmlns="" xmlns:a16="http://schemas.microsoft.com/office/drawing/2014/main" id="{632CCA2A-EBAF-44BB-A7BA-CA3CE4416F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430588" y="327025"/>
              <a:ext cx="1905001" cy="6197600"/>
            </a:xfrm>
            <a:custGeom>
              <a:avLst/>
              <a:gdLst>
                <a:gd name="T0" fmla="*/ 503 w 503"/>
                <a:gd name="T1" fmla="*/ 1644 h 1644"/>
                <a:gd name="T2" fmla="*/ 486 w 503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03" h="1644">
                  <a:moveTo>
                    <a:pt x="503" y="1644"/>
                  </a:moveTo>
                  <a:cubicBezTo>
                    <a:pt x="0" y="1088"/>
                    <a:pt x="382" y="212"/>
                    <a:pt x="48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88">
              <a:extLst>
                <a:ext uri="{FF2B5EF4-FFF2-40B4-BE49-F238E27FC236}">
                  <a16:creationId xmlns="" xmlns:a16="http://schemas.microsoft.com/office/drawing/2014/main" id="{C6A5B35F-C721-406C-8B76-04524C0BD2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532188" y="327025"/>
              <a:ext cx="2074863" cy="6197600"/>
            </a:xfrm>
            <a:custGeom>
              <a:avLst/>
              <a:gdLst>
                <a:gd name="T0" fmla="*/ 548 w 548"/>
                <a:gd name="T1" fmla="*/ 1644 h 1644"/>
                <a:gd name="T2" fmla="*/ 430 w 548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8" h="1644">
                  <a:moveTo>
                    <a:pt x="548" y="1644"/>
                  </a:moveTo>
                  <a:cubicBezTo>
                    <a:pt x="0" y="1128"/>
                    <a:pt x="324" y="247"/>
                    <a:pt x="430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89">
              <a:extLst>
                <a:ext uri="{FF2B5EF4-FFF2-40B4-BE49-F238E27FC236}">
                  <a16:creationId xmlns="" xmlns:a16="http://schemas.microsoft.com/office/drawing/2014/main" id="{2C89EF69-27F0-4118-AD8B-9353B7E36E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627438" y="327025"/>
              <a:ext cx="2254251" cy="6197600"/>
            </a:xfrm>
            <a:custGeom>
              <a:avLst/>
              <a:gdLst>
                <a:gd name="T0" fmla="*/ 595 w 595"/>
                <a:gd name="T1" fmla="*/ 1644 h 1644"/>
                <a:gd name="T2" fmla="*/ 372 w 595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95" h="1644">
                  <a:moveTo>
                    <a:pt x="595" y="1644"/>
                  </a:moveTo>
                  <a:cubicBezTo>
                    <a:pt x="0" y="1169"/>
                    <a:pt x="268" y="279"/>
                    <a:pt x="372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90">
              <a:extLst>
                <a:ext uri="{FF2B5EF4-FFF2-40B4-BE49-F238E27FC236}">
                  <a16:creationId xmlns="" xmlns:a16="http://schemas.microsoft.com/office/drawing/2014/main" id="{3A98A419-73B4-4548-97B3-E19118E869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717926" y="327025"/>
              <a:ext cx="2473326" cy="6197600"/>
            </a:xfrm>
            <a:custGeom>
              <a:avLst/>
              <a:gdLst>
                <a:gd name="T0" fmla="*/ 653 w 653"/>
                <a:gd name="T1" fmla="*/ 1644 h 1644"/>
                <a:gd name="T2" fmla="*/ 317 w 653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53" h="1644">
                  <a:moveTo>
                    <a:pt x="653" y="1644"/>
                  </a:moveTo>
                  <a:cubicBezTo>
                    <a:pt x="0" y="1212"/>
                    <a:pt x="219" y="307"/>
                    <a:pt x="317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91">
              <a:extLst>
                <a:ext uri="{FF2B5EF4-FFF2-40B4-BE49-F238E27FC236}">
                  <a16:creationId xmlns="" xmlns:a16="http://schemas.microsoft.com/office/drawing/2014/main" id="{CA52F18D-678E-4C63-A950-69F3576EFF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335338" y="327025"/>
              <a:ext cx="2068513" cy="6197600"/>
            </a:xfrm>
            <a:custGeom>
              <a:avLst/>
              <a:gdLst>
                <a:gd name="T0" fmla="*/ 465 w 546"/>
                <a:gd name="T1" fmla="*/ 1644 h 1644"/>
                <a:gd name="T2" fmla="*/ 546 w 546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6" h="1644">
                  <a:moveTo>
                    <a:pt x="465" y="1644"/>
                  </a:moveTo>
                  <a:cubicBezTo>
                    <a:pt x="0" y="1046"/>
                    <a:pt x="454" y="166"/>
                    <a:pt x="54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2479879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65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958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747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981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983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966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0468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8689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06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8049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194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30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0064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9097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54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09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2132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5665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78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4860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9495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marL="291586" indent="0">
              <a:buNone/>
              <a:defRPr/>
            </a:lvl2pPr>
            <a:lvl3pPr marL="583171" indent="0">
              <a:buNone/>
              <a:defRPr/>
            </a:lvl3pPr>
            <a:lvl4pPr marL="874756" indent="0">
              <a:buNone/>
              <a:defRPr/>
            </a:lvl4pPr>
            <a:lvl5pPr marL="1166341" indent="0">
              <a:buNone/>
              <a:defRPr/>
            </a:lvl5pPr>
          </a:lstStyle>
          <a:p>
            <a:pPr lvl="0"/>
            <a:r>
              <a:rPr lang="en-US" dirty="0" smtClean="0"/>
              <a:t>Footnot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7752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5535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4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66856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581891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6" name="Слайд think-cell" r:id="rId24" imgW="594" imgH="595" progId="TCLayout.ActiveDocument.1">
                  <p:embed/>
                </p:oleObj>
              </mc:Choice>
              <mc:Fallback>
                <p:oleObj name="Слайд think-cell" r:id="rId2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6" name="Rectangle 4095" hidden="1"/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="" xmlns:a16="http://schemas.microsoft.com/office/drawing/2014/main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2275" cy="7065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fld id="{A629F11A-CAD2-4FD2-9793-0DC6E98D19B3}" type="slidenum">
              <a:rPr lang="ru-RU" sz="1200" smtClean="0">
                <a:solidFill>
                  <a:schemeClr val="tx1"/>
                </a:solidFill>
              </a:rPr>
              <a:pPr lvl="0"/>
              <a:t>‹#›</a:t>
            </a:fld>
            <a:endParaRPr lang="ru-RU" sz="1200" dirty="0" smtClean="0">
              <a:solidFill>
                <a:schemeClr val="tx1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="" xmlns:a16="http://schemas.microsoft.com/office/drawing/2014/main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1299" y="25180"/>
            <a:ext cx="849051" cy="617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043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696" r:id="rId8"/>
    <p:sldLayoutId id="2147483703" r:id="rId9"/>
    <p:sldLayoutId id="2147483708" r:id="rId10"/>
    <p:sldLayoutId id="2147483701" r:id="rId11"/>
    <p:sldLayoutId id="2147483742" r:id="rId12"/>
    <p:sldLayoutId id="2147483704" r:id="rId13"/>
    <p:sldLayoutId id="2147483707" r:id="rId14"/>
    <p:sldLayoutId id="2147483706" r:id="rId15"/>
    <p:sldLayoutId id="2147483716" r:id="rId16"/>
    <p:sldLayoutId id="2147483709" r:id="rId17"/>
    <p:sldLayoutId id="2147483710" r:id="rId18"/>
    <p:sldLayoutId id="2147483768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83170" rtl="0" eaLnBrk="1" latinLnBrk="0" hangingPunct="1">
        <a:lnSpc>
          <a:spcPct val="100000"/>
        </a:lnSpc>
        <a:spcBef>
          <a:spcPct val="0"/>
        </a:spcBef>
        <a:buNone/>
        <a:defRPr lang="ru-RU" sz="1800" b="0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45792" indent="-145792" algn="l" defTabSz="583170" rtl="0" eaLnBrk="1" latinLnBrk="0" hangingPunct="1">
        <a:lnSpc>
          <a:spcPct val="90000"/>
        </a:lnSpc>
        <a:spcBef>
          <a:spcPts val="638"/>
        </a:spcBef>
        <a:buFont typeface="Arial" panose="020B0604020202020204" pitchFamily="34" charset="0"/>
        <a:buChar char="•"/>
        <a:defRPr sz="1785" kern="1200">
          <a:solidFill>
            <a:schemeClr val="tx1"/>
          </a:solidFill>
          <a:latin typeface="+mn-lt"/>
          <a:ea typeface="+mn-ea"/>
          <a:cs typeface="+mn-cs"/>
        </a:defRPr>
      </a:lvl1pPr>
      <a:lvl2pPr marL="43737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531" kern="1200">
          <a:solidFill>
            <a:schemeClr val="tx1"/>
          </a:solidFill>
          <a:latin typeface="+mn-lt"/>
          <a:ea typeface="+mn-ea"/>
          <a:cs typeface="+mn-cs"/>
        </a:defRPr>
      </a:lvl2pPr>
      <a:lvl3pPr marL="72896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102054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31213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60371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89530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18688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478472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158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8317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7475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6634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57924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4951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4109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3268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18" Type="http://schemas.openxmlformats.org/officeDocument/2006/relationships/chart" Target="../charts/chart7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image" Target="../media/image1.emf"/><Relationship Id="rId2" Type="http://schemas.openxmlformats.org/officeDocument/2006/relationships/tags" Target="../tags/tag70.xml"/><Relationship Id="rId16" Type="http://schemas.openxmlformats.org/officeDocument/2006/relationships/oleObject" Target="../embeddings/oleObject29.bin"/><Relationship Id="rId1" Type="http://schemas.openxmlformats.org/officeDocument/2006/relationships/vmlDrawing" Target="../drawings/vmlDrawing29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slideLayout" Target="../slideLayouts/slideLayout9.xml"/><Relationship Id="rId10" Type="http://schemas.openxmlformats.org/officeDocument/2006/relationships/tags" Target="../tags/tag78.xml"/><Relationship Id="rId19" Type="http://schemas.openxmlformats.org/officeDocument/2006/relationships/chart" Target="../charts/chart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3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4.png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26" Type="http://schemas.openxmlformats.org/officeDocument/2006/relationships/oleObject" Target="../embeddings/oleObject26.bin"/><Relationship Id="rId3" Type="http://schemas.openxmlformats.org/officeDocument/2006/relationships/tags" Target="../tags/tag42.xml"/><Relationship Id="rId21" Type="http://schemas.openxmlformats.org/officeDocument/2006/relationships/tags" Target="../tags/tag60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slideLayout" Target="../slideLayouts/slideLayout9.xml"/><Relationship Id="rId33" Type="http://schemas.openxmlformats.org/officeDocument/2006/relationships/chart" Target="../charts/chart6.xml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29" Type="http://schemas.openxmlformats.org/officeDocument/2006/relationships/chart" Target="../charts/chart2.xml"/><Relationship Id="rId1" Type="http://schemas.openxmlformats.org/officeDocument/2006/relationships/vmlDrawing" Target="../drawings/vmlDrawing26.v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tags" Target="../tags/tag63.xml"/><Relationship Id="rId32" Type="http://schemas.openxmlformats.org/officeDocument/2006/relationships/chart" Target="../charts/chart5.xml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tags" Target="../tags/tag62.xml"/><Relationship Id="rId28" Type="http://schemas.openxmlformats.org/officeDocument/2006/relationships/chart" Target="../charts/chart1.xml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31" Type="http://schemas.openxmlformats.org/officeDocument/2006/relationships/chart" Target="../charts/chart4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tags" Target="../tags/tag61.xml"/><Relationship Id="rId27" Type="http://schemas.openxmlformats.org/officeDocument/2006/relationships/image" Target="../media/image1.emf"/><Relationship Id="rId30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5.xml"/><Relationship Id="rId7" Type="http://schemas.openxmlformats.org/officeDocument/2006/relationships/oleObject" Target="../embeddings/oleObject27.bin"/><Relationship Id="rId2" Type="http://schemas.openxmlformats.org/officeDocument/2006/relationships/tags" Target="../tags/tag64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err="1" smtClean="0"/>
              <a:t>Сәуір</a:t>
            </a:r>
            <a:r>
              <a:rPr lang="ru-RU" dirty="0" smtClean="0"/>
              <a:t> 2026 ж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sz="1800" dirty="0"/>
              <a:t>2025 </a:t>
            </a:r>
            <a:r>
              <a:rPr lang="ru-RU" sz="1800" dirty="0" err="1"/>
              <a:t>жылдың</a:t>
            </a:r>
            <a:r>
              <a:rPr lang="ru-RU" sz="1800" dirty="0"/>
              <a:t> </a:t>
            </a:r>
            <a:r>
              <a:rPr lang="ru-RU" sz="1800" dirty="0" err="1"/>
              <a:t>қорытындысы</a:t>
            </a:r>
            <a:r>
              <a:rPr lang="ru-RU" sz="1800" dirty="0"/>
              <a:t> </a:t>
            </a:r>
            <a:r>
              <a:rPr lang="ru-RU" sz="1800" dirty="0" err="1"/>
              <a:t>бойынша</a:t>
            </a:r>
            <a:r>
              <a:rPr lang="ru-RU" sz="1800" dirty="0"/>
              <a:t> </a:t>
            </a:r>
            <a:r>
              <a:rPr lang="ru-RU" sz="1800" dirty="0" err="1"/>
              <a:t>бекітілген</a:t>
            </a:r>
            <a:r>
              <a:rPr lang="ru-RU" sz="1800" dirty="0"/>
              <a:t> </a:t>
            </a:r>
            <a:r>
              <a:rPr lang="ru-RU" sz="1800" dirty="0" err="1"/>
              <a:t>тарифтік</a:t>
            </a:r>
            <a:r>
              <a:rPr lang="ru-RU" sz="1800" dirty="0"/>
              <a:t> </a:t>
            </a:r>
            <a:r>
              <a:rPr lang="ru-RU" sz="1800" dirty="0" err="1"/>
              <a:t>сметаның</a:t>
            </a:r>
            <a:r>
              <a:rPr lang="ru-RU" sz="1800" dirty="0"/>
              <a:t> </a:t>
            </a:r>
            <a:r>
              <a:rPr lang="ru-RU" sz="1800" dirty="0" err="1"/>
              <a:t>және</a:t>
            </a:r>
            <a:r>
              <a:rPr lang="ru-RU" sz="1800" dirty="0"/>
              <a:t> </a:t>
            </a:r>
            <a:r>
              <a:rPr lang="ru-RU" sz="1800" dirty="0" err="1"/>
              <a:t>инвестициялық</a:t>
            </a:r>
            <a:r>
              <a:rPr lang="ru-RU" sz="1800" dirty="0"/>
              <a:t> </a:t>
            </a:r>
            <a:r>
              <a:rPr lang="ru-RU" sz="1800" dirty="0" err="1"/>
              <a:t>бағдарламаның</a:t>
            </a:r>
            <a:r>
              <a:rPr lang="ru-RU" sz="1800" dirty="0"/>
              <a:t> </a:t>
            </a:r>
            <a:r>
              <a:rPr lang="ru-RU" sz="1800" dirty="0" err="1"/>
              <a:t>орындалуы</a:t>
            </a:r>
            <a:r>
              <a:rPr lang="ru-RU" sz="1800" dirty="0"/>
              <a:t>, </a:t>
            </a:r>
            <a:r>
              <a:rPr lang="ru-RU" sz="1800" dirty="0" err="1"/>
              <a:t>реттелетін</a:t>
            </a:r>
            <a:r>
              <a:rPr lang="ru-RU" sz="1800" dirty="0"/>
              <a:t> </a:t>
            </a:r>
            <a:r>
              <a:rPr lang="ru-RU" sz="1800" dirty="0" err="1"/>
              <a:t>қызметтердің</a:t>
            </a:r>
            <a:r>
              <a:rPr lang="ru-RU" sz="1800" dirty="0"/>
              <a:t> </a:t>
            </a:r>
            <a:r>
              <a:rPr lang="ru-RU" sz="1800" dirty="0" err="1"/>
              <a:t>сапасы</a:t>
            </a:r>
            <a:r>
              <a:rPr lang="ru-RU" sz="1800" dirty="0"/>
              <a:t> мен </a:t>
            </a:r>
            <a:r>
              <a:rPr lang="ru-RU" sz="1800" dirty="0" err="1"/>
              <a:t>сенімділігі</a:t>
            </a:r>
            <a:r>
              <a:rPr lang="ru-RU" sz="1800" dirty="0"/>
              <a:t> </a:t>
            </a:r>
            <a:r>
              <a:rPr lang="ru-RU" sz="1800" dirty="0" err="1"/>
              <a:t>көрсеткіштерінің</a:t>
            </a:r>
            <a:r>
              <a:rPr lang="ru-RU" sz="1800" dirty="0"/>
              <a:t> </a:t>
            </a:r>
            <a:r>
              <a:rPr lang="ru-RU" sz="1800" dirty="0" err="1"/>
              <a:t>сақталуы</a:t>
            </a:r>
            <a:r>
              <a:rPr lang="ru-RU" sz="1800" dirty="0"/>
              <a:t> </a:t>
            </a:r>
            <a:r>
              <a:rPr lang="ru-RU" sz="1800" dirty="0" err="1"/>
              <a:t>және</a:t>
            </a:r>
            <a:r>
              <a:rPr lang="ru-RU" sz="1800" dirty="0"/>
              <a:t> </a:t>
            </a:r>
            <a:r>
              <a:rPr lang="ru-RU" sz="1800" dirty="0" err="1"/>
              <a:t>тұтынушылар</a:t>
            </a:r>
            <a:r>
              <a:rPr lang="ru-RU" sz="1800" dirty="0"/>
              <a:t> мен </a:t>
            </a:r>
            <a:r>
              <a:rPr lang="ru-RU" sz="1800" dirty="0" err="1"/>
              <a:t>өзге</a:t>
            </a:r>
            <a:r>
              <a:rPr lang="ru-RU" sz="1800" dirty="0"/>
              <a:t> де </a:t>
            </a:r>
            <a:r>
              <a:rPr lang="ru-RU" sz="1800" dirty="0" err="1"/>
              <a:t>мүдделі</a:t>
            </a:r>
            <a:r>
              <a:rPr lang="ru-RU" sz="1800" dirty="0"/>
              <a:t> </a:t>
            </a:r>
            <a:r>
              <a:rPr lang="ru-RU" sz="1800" dirty="0" err="1"/>
              <a:t>тұлғалар</a:t>
            </a:r>
            <a:r>
              <a:rPr lang="ru-RU" sz="1800" dirty="0"/>
              <a:t> </a:t>
            </a:r>
            <a:r>
              <a:rPr lang="ru-RU" sz="1800" dirty="0" err="1"/>
              <a:t>алдында</a:t>
            </a:r>
            <a:r>
              <a:rPr lang="ru-RU" sz="1800" dirty="0"/>
              <a:t> </a:t>
            </a:r>
            <a:r>
              <a:rPr lang="ru-RU" sz="1800" dirty="0" smtClean="0"/>
              <a:t>«ЕЭК» </a:t>
            </a:r>
            <a:r>
              <a:rPr lang="ru-RU" sz="1800" dirty="0"/>
              <a:t>АҚ </a:t>
            </a:r>
            <a:r>
              <a:rPr lang="ru-RU" sz="1800" dirty="0" err="1"/>
              <a:t>қызметінің</a:t>
            </a:r>
            <a:r>
              <a:rPr lang="ru-RU" sz="1800" dirty="0"/>
              <a:t> </a:t>
            </a:r>
            <a:r>
              <a:rPr lang="ru-RU" sz="1800" dirty="0" err="1"/>
              <a:t>тиімділік</a:t>
            </a:r>
            <a:r>
              <a:rPr lang="ru-RU" sz="1800" dirty="0"/>
              <a:t> </a:t>
            </a:r>
            <a:r>
              <a:rPr lang="ru-RU" sz="1800" dirty="0" err="1"/>
              <a:t>көрсеткіштеріне</a:t>
            </a:r>
            <a:r>
              <a:rPr lang="ru-RU" sz="1800" dirty="0"/>
              <a:t> </a:t>
            </a:r>
            <a:r>
              <a:rPr lang="ru-RU" sz="1800" dirty="0" err="1"/>
              <a:t>қол</a:t>
            </a:r>
            <a:r>
              <a:rPr lang="ru-RU" sz="1800" dirty="0"/>
              <a:t> </a:t>
            </a:r>
            <a:r>
              <a:rPr lang="ru-RU" sz="1800" dirty="0" err="1"/>
              <a:t>жеткізу</a:t>
            </a:r>
            <a:r>
              <a:rPr lang="ru-RU" sz="1800" dirty="0"/>
              <a:t> </a:t>
            </a:r>
            <a:r>
              <a:rPr lang="ru-RU" sz="1800" dirty="0" err="1"/>
              <a:t>туралы</a:t>
            </a:r>
            <a:r>
              <a:rPr lang="ru-RU" sz="1800" dirty="0"/>
              <a:t> </a:t>
            </a:r>
            <a:r>
              <a:rPr lang="ru-RU" sz="1800" dirty="0" err="1" smtClean="0"/>
              <a:t>есеп</a:t>
            </a:r>
            <a:endParaRPr lang="ru-RU" sz="1800" dirty="0" smtClean="0"/>
          </a:p>
        </p:txBody>
      </p:sp>
    </p:spTree>
    <p:extLst>
      <p:ext uri="{BB962C8B-B14F-4D97-AF65-F5344CB8AC3E}">
        <p14:creationId xmlns:p14="http://schemas.microsoft.com/office/powerpoint/2010/main" val="4091122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566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51" name="Слайд think-cell" r:id="rId16" imgW="594" imgH="595" progId="TCLayout.ActiveDocument.1">
                  <p:embed/>
                </p:oleObj>
              </mc:Choice>
              <mc:Fallback>
                <p:oleObj name="Слайд think-cell" r:id="rId16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0" dirty="0" smtClean="0">
                <a:solidFill>
                  <a:schemeClr val="accent1"/>
                </a:solidFill>
              </a:rPr>
              <a:t/>
            </a:r>
            <a:br>
              <a:rPr lang="en-US" b="0" dirty="0" smtClean="0">
                <a:solidFill>
                  <a:schemeClr val="accent1"/>
                </a:solidFill>
              </a:rPr>
            </a:br>
            <a:r>
              <a:rPr lang="ru-RU" b="0" dirty="0" smtClean="0">
                <a:solidFill>
                  <a:schemeClr val="accent1"/>
                </a:solidFill>
              </a:rPr>
              <a:t>ЕЭК: </a:t>
            </a:r>
            <a:r>
              <a:rPr lang="ru-RU" dirty="0" err="1"/>
              <a:t>Қызмет</a:t>
            </a:r>
            <a:r>
              <a:rPr lang="ru-RU" dirty="0"/>
              <a:t> </a:t>
            </a:r>
            <a:r>
              <a:rPr lang="ru-RU" dirty="0" err="1"/>
              <a:t>перспективалары</a:t>
            </a:r>
            <a:r>
              <a:rPr lang="ru-RU" dirty="0"/>
              <a:t> (даму </a:t>
            </a:r>
            <a:r>
              <a:rPr lang="ru-RU" dirty="0" err="1"/>
              <a:t>жоспарлары</a:t>
            </a:r>
            <a:r>
              <a:rPr lang="ru-RU" dirty="0"/>
              <a:t>), </a:t>
            </a:r>
            <a:r>
              <a:rPr lang="ru-RU" dirty="0" err="1"/>
              <a:t>оның</a:t>
            </a:r>
            <a:r>
              <a:rPr lang="ru-RU" dirty="0"/>
              <a:t> </a:t>
            </a:r>
            <a:r>
              <a:rPr lang="ru-RU" dirty="0" err="1"/>
              <a:t>ішінде</a:t>
            </a:r>
            <a:r>
              <a:rPr lang="ru-RU" dirty="0"/>
              <a:t> </a:t>
            </a:r>
            <a:r>
              <a:rPr lang="ru-RU" dirty="0" err="1"/>
              <a:t>тарифтердің</a:t>
            </a:r>
            <a:r>
              <a:rPr lang="ru-RU" dirty="0"/>
              <a:t> </a:t>
            </a:r>
            <a:r>
              <a:rPr lang="ru-RU" dirty="0" err="1"/>
              <a:t>ықтимал</a:t>
            </a:r>
            <a:r>
              <a:rPr lang="ru-RU" dirty="0"/>
              <a:t> </a:t>
            </a:r>
            <a:r>
              <a:rPr lang="ru-RU" dirty="0" err="1"/>
              <a:t>өзгерістері</a:t>
            </a:r>
            <a:r>
              <a:rPr lang="ru-RU" b="0" dirty="0">
                <a:solidFill>
                  <a:schemeClr val="accent1"/>
                </a:solidFill>
              </a:rPr>
              <a:t/>
            </a:r>
            <a:br>
              <a:rPr lang="ru-RU" b="0" dirty="0">
                <a:solidFill>
                  <a:schemeClr val="accent1"/>
                </a:solidFill>
              </a:rPr>
            </a:br>
            <a:r>
              <a:rPr lang="ru-RU" b="0" dirty="0" smtClean="0">
                <a:solidFill>
                  <a:schemeClr val="accent1"/>
                </a:solidFill>
              </a:rPr>
              <a:t> 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8" name="Abgerundetes Rechteck 109"/>
          <p:cNvSpPr/>
          <p:nvPr/>
        </p:nvSpPr>
        <p:spPr>
          <a:xfrm>
            <a:off x="317501" y="1644650"/>
            <a:ext cx="1571625" cy="1490663"/>
          </a:xfrm>
          <a:prstGeom prst="roundRect">
            <a:avLst/>
          </a:prstGeom>
          <a:noFill/>
          <a:ln w="9525" cap="flat" cmpd="sng" algn="ctr">
            <a:solidFill>
              <a:srgbClr val="E2E2E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lIns="0" tIns="0" rIns="0" bIns="0" anchor="ctr"/>
          <a:lstStyle/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dk1"/>
                </a:solidFill>
                <a:cs typeface="Arial" pitchFamily="34" charset="0"/>
              </a:rPr>
              <a:t>Тариф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(</a:t>
            </a:r>
            <a:r>
              <a:rPr lang="ru-RU" sz="1200" i="1" dirty="0" err="1">
                <a:solidFill>
                  <a:schemeClr val="dk1"/>
                </a:solidFill>
                <a:cs typeface="Arial" pitchFamily="34" charset="0"/>
              </a:rPr>
              <a:t>уәкілетті</a:t>
            </a: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 орган </a:t>
            </a:r>
            <a:r>
              <a:rPr lang="ru-RU" sz="1200" i="1" dirty="0" err="1">
                <a:solidFill>
                  <a:schemeClr val="dk1"/>
                </a:solidFill>
                <a:cs typeface="Arial" pitchFamily="34" charset="0"/>
              </a:rPr>
              <a:t>бекіткен</a:t>
            </a: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)</a:t>
            </a:r>
            <a:endParaRPr lang="en-GB" sz="1100" i="1" dirty="0">
              <a:solidFill>
                <a:schemeClr val="dk1"/>
              </a:solidFill>
              <a:cs typeface="Arial" pitchFamily="34" charset="0"/>
            </a:endParaRPr>
          </a:p>
        </p:txBody>
      </p:sp>
      <p:sp>
        <p:nvSpPr>
          <p:cNvPr id="10" name="Abgerundetes Rechteck 109"/>
          <p:cNvSpPr>
            <a:spLocks/>
          </p:cNvSpPr>
          <p:nvPr/>
        </p:nvSpPr>
        <p:spPr>
          <a:xfrm>
            <a:off x="317501" y="3779838"/>
            <a:ext cx="1571625" cy="1327150"/>
          </a:xfrm>
          <a:prstGeom prst="roundRect">
            <a:avLst/>
          </a:prstGeom>
          <a:noFill/>
          <a:ln w="9525" cap="flat" cmpd="sng" algn="ctr">
            <a:solidFill>
              <a:srgbClr val="E2E2E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lIns="0" tIns="0" rIns="0" bIns="0" anchor="ctr"/>
          <a:lstStyle/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err="1" smtClean="0">
                <a:solidFill>
                  <a:schemeClr val="dk1"/>
                </a:solidFill>
                <a:cs typeface="Arial" pitchFamily="34" charset="0"/>
              </a:rPr>
              <a:t>Инвестициялар</a:t>
            </a:r>
            <a:endParaRPr lang="ru-RU" sz="1600" b="1" dirty="0" smtClean="0">
              <a:solidFill>
                <a:schemeClr val="dk1"/>
              </a:solidFill>
              <a:cs typeface="Arial" pitchFamily="34" charset="0"/>
            </a:endParaRP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(</a:t>
            </a:r>
            <a:r>
              <a:rPr lang="ru-RU" sz="1200" i="1" dirty="0" err="1">
                <a:solidFill>
                  <a:schemeClr val="dk1"/>
                </a:solidFill>
                <a:cs typeface="Arial" pitchFamily="34" charset="0"/>
              </a:rPr>
              <a:t>уәкілетті</a:t>
            </a: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 орган </a:t>
            </a:r>
            <a:r>
              <a:rPr lang="ru-RU" sz="1200" i="1" dirty="0" err="1">
                <a:solidFill>
                  <a:schemeClr val="dk1"/>
                </a:solidFill>
                <a:cs typeface="Arial" pitchFamily="34" charset="0"/>
              </a:rPr>
              <a:t>бекіткен</a:t>
            </a: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)</a:t>
            </a:r>
            <a:endParaRPr lang="en-GB" sz="1600" b="1" dirty="0">
              <a:solidFill>
                <a:schemeClr val="dk1"/>
              </a:solidFill>
              <a:cs typeface="Arial" pitchFamily="34" charset="0"/>
            </a:endParaRPr>
          </a:p>
        </p:txBody>
      </p:sp>
      <p:cxnSp>
        <p:nvCxnSpPr>
          <p:cNvPr id="11" name="Straight Connector 418"/>
          <p:cNvCxnSpPr/>
          <p:nvPr/>
        </p:nvCxnSpPr>
        <p:spPr>
          <a:xfrm>
            <a:off x="236708" y="3394075"/>
            <a:ext cx="7884000" cy="0"/>
          </a:xfrm>
          <a:prstGeom prst="line">
            <a:avLst/>
          </a:prstGeom>
          <a:ln w="9525" cap="flat" cmpd="sng" algn="ctr">
            <a:solidFill>
              <a:srgbClr val="B2B2B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3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53692627"/>
              </p:ext>
            </p:extLst>
          </p:nvPr>
        </p:nvGraphicFramePr>
        <p:xfrm>
          <a:off x="2403475" y="1577975"/>
          <a:ext cx="3675063" cy="1619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16" name="Прямоугольник 15"/>
          <p:cNvSpPr/>
          <p:nvPr>
            <p:custDataLst>
              <p:tags r:id="rId4"/>
            </p:custDataLst>
          </p:nvPr>
        </p:nvSpPr>
        <p:spPr bwMode="auto">
          <a:xfrm>
            <a:off x="2855119" y="3030538"/>
            <a:ext cx="920468" cy="160338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tx1"/>
                </a:solidFill>
              </a:rPr>
              <a:t>2025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5"/>
            </p:custDataLst>
          </p:nvPr>
        </p:nvSpPr>
        <p:spPr bwMode="auto">
          <a:xfrm>
            <a:off x="4106863" y="303053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6"/>
            </p:custDataLst>
          </p:nvPr>
        </p:nvSpPr>
        <p:spPr bwMode="auto">
          <a:xfrm>
            <a:off x="4700624" y="3030538"/>
            <a:ext cx="842926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80967A1-0986-4695-8A24-7C08D1864157}" type="datetime'''''2''''''''''''''''''''''''''0''''2''''6'''''''''">
              <a:rPr lang="ru-RU" altLang="en-US" sz="900" smtClean="0">
                <a:solidFill>
                  <a:schemeClr val="tx1"/>
                </a:solidFill>
              </a:rPr>
              <a:pPr/>
              <a:t>2026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7"/>
            </p:custDataLst>
          </p:nvPr>
        </p:nvSpPr>
        <p:spPr bwMode="auto">
          <a:xfrm>
            <a:off x="6516688" y="1693863"/>
            <a:ext cx="160338" cy="12065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>
            <p:custDataLst>
              <p:tags r:id="rId8"/>
            </p:custDataLst>
          </p:nvPr>
        </p:nvSpPr>
        <p:spPr bwMode="auto">
          <a:xfrm>
            <a:off x="6727825" y="1690688"/>
            <a:ext cx="5588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err="1">
                <a:solidFill>
                  <a:schemeClr val="tx1"/>
                </a:solidFill>
              </a:rPr>
              <a:t>теңге</a:t>
            </a:r>
            <a:r>
              <a:rPr lang="ru-RU" altLang="en-US" sz="900" dirty="0">
                <a:solidFill>
                  <a:schemeClr val="tx1"/>
                </a:solidFill>
              </a:rPr>
              <a:t>/Гкал</a:t>
            </a:r>
            <a:endParaRPr lang="ru-RU" sz="900" dirty="0">
              <a:solidFill>
                <a:schemeClr val="tx1"/>
              </a:solidFill>
            </a:endParaRPr>
          </a:p>
        </p:txBody>
      </p:sp>
      <p:graphicFrame>
        <p:nvGraphicFramePr>
          <p:cNvPr id="32" name="Chart 3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639940687"/>
              </p:ext>
            </p:extLst>
          </p:nvPr>
        </p:nvGraphicFramePr>
        <p:xfrm>
          <a:off x="2413000" y="3597275"/>
          <a:ext cx="3665538" cy="1714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23" name="Прямоугольник 22"/>
          <p:cNvSpPr/>
          <p:nvPr>
            <p:custDataLst>
              <p:tags r:id="rId10"/>
            </p:custDataLst>
          </p:nvPr>
        </p:nvSpPr>
        <p:spPr bwMode="auto">
          <a:xfrm>
            <a:off x="2944813" y="514508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11"/>
            </p:custDataLst>
          </p:nvPr>
        </p:nvSpPr>
        <p:spPr bwMode="auto">
          <a:xfrm>
            <a:off x="2636892" y="5145088"/>
            <a:ext cx="135500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1379746-B7D0-45E8-839B-2209530F632A}" type="datetime'''''''''''2''''''0''2''''5'''''''''''''''''''''''">
              <a:rPr lang="ru-RU" altLang="en-US" sz="900" smtClean="0">
                <a:solidFill>
                  <a:schemeClr val="tx1"/>
                </a:solidFill>
              </a:rPr>
              <a:pPr/>
              <a:t>2025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12"/>
            </p:custDataLst>
          </p:nvPr>
        </p:nvSpPr>
        <p:spPr bwMode="auto">
          <a:xfrm>
            <a:off x="4739663" y="5145088"/>
            <a:ext cx="80547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67787A8-3D47-46E9-B338-A7C141FCAFAF}" type="datetime'''''''''''''''''''''''2''''''''''''''0''''''''2''''''6'">
              <a:rPr lang="ru-RU" altLang="en-US" sz="900" smtClean="0">
                <a:solidFill>
                  <a:schemeClr val="tx1"/>
                </a:solidFill>
              </a:rPr>
              <a:pPr/>
              <a:t>2026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13"/>
            </p:custDataLst>
          </p:nvPr>
        </p:nvSpPr>
        <p:spPr bwMode="auto">
          <a:xfrm>
            <a:off x="5995988" y="3829050"/>
            <a:ext cx="160338" cy="120650"/>
          </a:xfrm>
          <a:prstGeom prst="rect">
            <a:avLst/>
          </a:prstGeom>
          <a:solidFill>
            <a:srgbClr val="80808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14"/>
            </p:custDataLst>
          </p:nvPr>
        </p:nvSpPr>
        <p:spPr bwMode="auto">
          <a:xfrm>
            <a:off x="6207125" y="3825875"/>
            <a:ext cx="55721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>
                <a:solidFill>
                  <a:schemeClr val="tx1"/>
                </a:solidFill>
              </a:rPr>
              <a:t>млн. </a:t>
            </a:r>
            <a:r>
              <a:rPr lang="ru-RU" altLang="en-US" sz="900" dirty="0" err="1">
                <a:solidFill>
                  <a:schemeClr val="tx1"/>
                </a:solidFill>
              </a:rPr>
              <a:t>теңге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8" name="Freeform 140"/>
          <p:cNvSpPr/>
          <p:nvPr/>
        </p:nvSpPr>
        <p:spPr>
          <a:xfrm>
            <a:off x="8034391" y="1220788"/>
            <a:ext cx="3655299" cy="4600575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600" dirty="0" err="1">
                <a:solidFill>
                  <a:schemeClr val="accent1"/>
                </a:solidFill>
              </a:rPr>
              <a:t>Іс-шараларды</a:t>
            </a:r>
            <a:r>
              <a:rPr lang="ru-RU" sz="1600" dirty="0">
                <a:solidFill>
                  <a:schemeClr val="accent1"/>
                </a:solidFill>
              </a:rPr>
              <a:t> </a:t>
            </a:r>
            <a:r>
              <a:rPr lang="ru-RU" sz="1600" dirty="0" err="1">
                <a:solidFill>
                  <a:schemeClr val="accent1"/>
                </a:solidFill>
              </a:rPr>
              <a:t>орындау</a:t>
            </a:r>
            <a:r>
              <a:rPr lang="ru-RU" sz="1600" dirty="0">
                <a:solidFill>
                  <a:schemeClr val="accent1"/>
                </a:solidFill>
              </a:rPr>
              <a:t> </a:t>
            </a:r>
            <a:r>
              <a:rPr lang="ru-RU" sz="1600" dirty="0" err="1">
                <a:solidFill>
                  <a:schemeClr val="accent1"/>
                </a:solidFill>
              </a:rPr>
              <a:t>келесілерге</a:t>
            </a:r>
            <a:r>
              <a:rPr lang="ru-RU" sz="1600" dirty="0">
                <a:solidFill>
                  <a:schemeClr val="accent1"/>
                </a:solidFill>
              </a:rPr>
              <a:t> </a:t>
            </a:r>
            <a:r>
              <a:rPr lang="ru-RU" sz="1600" dirty="0" err="1">
                <a:solidFill>
                  <a:schemeClr val="accent1"/>
                </a:solidFill>
              </a:rPr>
              <a:t>ықпал</a:t>
            </a:r>
            <a:r>
              <a:rPr lang="ru-RU" sz="1600" dirty="0">
                <a:solidFill>
                  <a:schemeClr val="accent1"/>
                </a:solidFill>
              </a:rPr>
              <a:t> </a:t>
            </a:r>
            <a:r>
              <a:rPr lang="ru-RU" sz="1600" dirty="0" err="1" smtClean="0">
                <a:solidFill>
                  <a:schemeClr val="accent1"/>
                </a:solidFill>
              </a:rPr>
              <a:t>етеді</a:t>
            </a:r>
            <a:r>
              <a:rPr lang="ru-RU" sz="1600" dirty="0" smtClean="0">
                <a:solidFill>
                  <a:schemeClr val="accent1"/>
                </a:solidFill>
              </a:rPr>
              <a:t>:</a:t>
            </a:r>
            <a:endParaRPr lang="ru-RU" sz="1600" dirty="0">
              <a:solidFill>
                <a:schemeClr val="accent1"/>
              </a:solidFill>
            </a:endParaRPr>
          </a:p>
        </p:txBody>
      </p:sp>
      <p:sp>
        <p:nvSpPr>
          <p:cNvPr id="29" name="Rectangle 5"/>
          <p:cNvSpPr>
            <a:spLocks noChangeArrowheads="1"/>
          </p:cNvSpPr>
          <p:nvPr/>
        </p:nvSpPr>
        <p:spPr bwMode="auto">
          <a:xfrm>
            <a:off x="8232384" y="1846263"/>
            <a:ext cx="3521907" cy="3783013"/>
          </a:xfrm>
          <a:prstGeom prst="rect">
            <a:avLst/>
          </a:prstGeom>
          <a:solidFill>
            <a:schemeClr val="l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lg"/>
          </a:ln>
        </p:spPr>
        <p:txBody>
          <a:bodyPr lIns="108000" tIns="180000" rIns="72000" bIns="72000" anchor="ctr" anchorCtr="0"/>
          <a:lstStyle/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жылу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энергиясын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өндіру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қызметтерді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үздіксіз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көрсетуді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етуге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болатын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негізгі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жабдықты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техникалық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жарамды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күйде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ұстауды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ету</a:t>
            </a:r>
            <a:r>
              <a:rPr lang="ru-RU" sz="16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төтенше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күтпеген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жағдайларды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жоюға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үнемі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дайын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болу; </a:t>
            </a:r>
            <a:endParaRPr lang="ru-RU" sz="16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жабдықтың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тиімділігін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ұсынылатын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реттелетін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қызметтердің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сапасын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арттыру</a:t>
            </a:r>
            <a:endParaRPr lang="ru-RU" sz="1600" dirty="0"/>
          </a:p>
        </p:txBody>
      </p:sp>
      <p:grpSp>
        <p:nvGrpSpPr>
          <p:cNvPr id="53" name="Group 37"/>
          <p:cNvGrpSpPr/>
          <p:nvPr/>
        </p:nvGrpSpPr>
        <p:grpSpPr>
          <a:xfrm>
            <a:off x="7685141" y="1831975"/>
            <a:ext cx="172580" cy="3051175"/>
            <a:chOff x="10288826" y="2803525"/>
            <a:chExt cx="172580" cy="3051175"/>
          </a:xfrm>
        </p:grpSpPr>
        <p:grpSp>
          <p:nvGrpSpPr>
            <p:cNvPr id="54" name="Group 20"/>
            <p:cNvGrpSpPr/>
            <p:nvPr/>
          </p:nvGrpSpPr>
          <p:grpSpPr>
            <a:xfrm>
              <a:off x="10288826" y="4094462"/>
              <a:ext cx="172580" cy="469699"/>
              <a:chOff x="3531025" y="4266495"/>
              <a:chExt cx="392739" cy="823525"/>
            </a:xfrm>
          </p:grpSpPr>
          <p:sp>
            <p:nvSpPr>
              <p:cNvPr id="57" name="Freeform 21"/>
              <p:cNvSpPr/>
              <p:nvPr/>
            </p:nvSpPr>
            <p:spPr>
              <a:xfrm>
                <a:off x="3635800" y="4266495"/>
                <a:ext cx="287964" cy="823525"/>
              </a:xfrm>
              <a:custGeom>
                <a:avLst/>
                <a:gdLst>
                  <a:gd name="connsiteX0" fmla="*/ 0 w 485775"/>
                  <a:gd name="connsiteY0" fmla="*/ 0 h 962025"/>
                  <a:gd name="connsiteX1" fmla="*/ 485775 w 485775"/>
                  <a:gd name="connsiteY1" fmla="*/ 485775 h 962025"/>
                  <a:gd name="connsiteX2" fmla="*/ 9525 w 485775"/>
                  <a:gd name="connsiteY2" fmla="*/ 962025 h 96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5" h="962025">
                    <a:moveTo>
                      <a:pt x="0" y="0"/>
                    </a:moveTo>
                    <a:lnTo>
                      <a:pt x="485775" y="485775"/>
                    </a:lnTo>
                    <a:lnTo>
                      <a:pt x="9525" y="962025"/>
                    </a:lnTo>
                  </a:path>
                </a:pathLst>
              </a:custGeom>
              <a:noFill/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8" name="Freeform 23"/>
              <p:cNvSpPr/>
              <p:nvPr/>
            </p:nvSpPr>
            <p:spPr>
              <a:xfrm>
                <a:off x="3531025" y="4266495"/>
                <a:ext cx="287964" cy="823525"/>
              </a:xfrm>
              <a:custGeom>
                <a:avLst/>
                <a:gdLst>
                  <a:gd name="connsiteX0" fmla="*/ 0 w 485775"/>
                  <a:gd name="connsiteY0" fmla="*/ 0 h 962025"/>
                  <a:gd name="connsiteX1" fmla="*/ 485775 w 485775"/>
                  <a:gd name="connsiteY1" fmla="*/ 485775 h 962025"/>
                  <a:gd name="connsiteX2" fmla="*/ 9525 w 485775"/>
                  <a:gd name="connsiteY2" fmla="*/ 962025 h 96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5" h="962025">
                    <a:moveTo>
                      <a:pt x="0" y="0"/>
                    </a:moveTo>
                    <a:lnTo>
                      <a:pt x="485775" y="485775"/>
                    </a:lnTo>
                    <a:lnTo>
                      <a:pt x="9525" y="962025"/>
                    </a:lnTo>
                  </a:path>
                </a:pathLst>
              </a:custGeom>
              <a:noFill/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cxnSp>
          <p:nvCxnSpPr>
            <p:cNvPr id="55" name="Прямая соединительная линия 5"/>
            <p:cNvCxnSpPr/>
            <p:nvPr/>
          </p:nvCxnSpPr>
          <p:spPr>
            <a:xfrm>
              <a:off x="10311014" y="2803525"/>
              <a:ext cx="0" cy="1135047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6" name="Прямая соединительная линия 6"/>
            <p:cNvCxnSpPr/>
            <p:nvPr/>
          </p:nvCxnSpPr>
          <p:spPr>
            <a:xfrm>
              <a:off x="10311014" y="4720051"/>
              <a:ext cx="0" cy="1134649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3" name="TextBox 2"/>
          <p:cNvSpPr txBox="1"/>
          <p:nvPr/>
        </p:nvSpPr>
        <p:spPr>
          <a:xfrm>
            <a:off x="317499" y="6116423"/>
            <a:ext cx="7184132" cy="30777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/>
              <a:t>Бес </a:t>
            </a:r>
            <a:r>
              <a:rPr lang="ru-RU" sz="1000" dirty="0" err="1"/>
              <a:t>жылдық</a:t>
            </a:r>
            <a:r>
              <a:rPr lang="ru-RU" sz="1000" dirty="0"/>
              <a:t> </a:t>
            </a:r>
            <a:r>
              <a:rPr lang="ru-RU" sz="1000" dirty="0" err="1"/>
              <a:t>инвестициялық</a:t>
            </a:r>
            <a:r>
              <a:rPr lang="ru-RU" sz="1000" dirty="0"/>
              <a:t> </a:t>
            </a:r>
            <a:r>
              <a:rPr lang="ru-RU" sz="1000" dirty="0" err="1"/>
              <a:t>бағдарламаны</a:t>
            </a:r>
            <a:r>
              <a:rPr lang="ru-RU" sz="1000" dirty="0"/>
              <a:t> </a:t>
            </a:r>
            <a:r>
              <a:rPr lang="ru-RU" sz="1000" dirty="0" err="1"/>
              <a:t>және</a:t>
            </a:r>
            <a:r>
              <a:rPr lang="ru-RU" sz="1000" dirty="0"/>
              <a:t> </a:t>
            </a:r>
            <a:r>
              <a:rPr lang="ru-RU" sz="1000" dirty="0" err="1"/>
              <a:t>тарифтерді</a:t>
            </a:r>
            <a:r>
              <a:rPr lang="ru-RU" sz="1000" dirty="0"/>
              <a:t> </a:t>
            </a:r>
            <a:r>
              <a:rPr lang="ru-RU" sz="1000" dirty="0" err="1"/>
              <a:t>бекітуге</a:t>
            </a:r>
            <a:r>
              <a:rPr lang="ru-RU" sz="1000" dirty="0"/>
              <a:t> </a:t>
            </a:r>
            <a:r>
              <a:rPr lang="ru-RU" sz="1000" dirty="0" err="1"/>
              <a:t>өтінімдерді</a:t>
            </a:r>
            <a:r>
              <a:rPr lang="ru-RU" sz="1000" dirty="0"/>
              <a:t> </a:t>
            </a:r>
            <a:r>
              <a:rPr lang="ru-RU" sz="1000" dirty="0" err="1"/>
              <a:t>қалыптастыру</a:t>
            </a:r>
            <a:r>
              <a:rPr lang="ru-RU" sz="1000" dirty="0"/>
              <a:t> </a:t>
            </a:r>
            <a:r>
              <a:rPr lang="ru-RU" sz="1000" dirty="0" err="1"/>
              <a:t>бойынша</a:t>
            </a:r>
            <a:r>
              <a:rPr lang="ru-RU" sz="1000" dirty="0"/>
              <a:t> </a:t>
            </a:r>
            <a:r>
              <a:rPr lang="ru-RU" sz="1000" dirty="0" err="1"/>
              <a:t>жұмыс</a:t>
            </a:r>
            <a:r>
              <a:rPr lang="ru-RU" sz="1000" dirty="0"/>
              <a:t> </a:t>
            </a:r>
            <a:r>
              <a:rPr lang="ru-RU" sz="1000" dirty="0" err="1"/>
              <a:t>жүргізілуде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4072889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Көрсетілетін</a:t>
            </a:r>
            <a:r>
              <a:rPr lang="ru-RU" dirty="0"/>
              <a:t> </a:t>
            </a:r>
            <a:r>
              <a:rPr lang="ru-RU" dirty="0" err="1"/>
              <a:t>қызмет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r>
              <a:rPr lang="ru-RU" dirty="0"/>
              <a:t> – </a:t>
            </a:r>
            <a:r>
              <a:rPr lang="ru-RU" dirty="0" err="1"/>
              <a:t>тарату</a:t>
            </a:r>
            <a:r>
              <a:rPr lang="ru-RU" dirty="0"/>
              <a:t> </a:t>
            </a:r>
            <a:r>
              <a:rPr lang="ru-RU" dirty="0" err="1"/>
              <a:t>желілері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су беру (</a:t>
            </a:r>
            <a:r>
              <a:rPr lang="ru-RU" dirty="0" err="1"/>
              <a:t>қуаты</a:t>
            </a:r>
            <a:r>
              <a:rPr lang="ru-RU" dirty="0"/>
              <a:t> аз)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17499" y="704850"/>
            <a:ext cx="11604535" cy="6026151"/>
          </a:xfrm>
        </p:spPr>
        <p:txBody>
          <a:bodyPr anchor="ctr"/>
          <a:lstStyle/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1.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Бекітілген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инвестициялық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бағдарламаның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рындалуы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туралы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ақпарат</a:t>
            </a:r>
            <a:endParaRPr lang="ru-RU" sz="1400" b="1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kern="0" dirty="0" err="1">
                <a:cs typeface="Arial" panose="020B0604020202020204" pitchFamily="34" charset="0"/>
              </a:rPr>
              <a:t>Инвестициялық</a:t>
            </a:r>
            <a:r>
              <a:rPr lang="ru-RU" sz="1400" kern="0" dirty="0"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cs typeface="Arial" panose="020B0604020202020204" pitchFamily="34" charset="0"/>
              </a:rPr>
              <a:t>бағдарламаны</a:t>
            </a:r>
            <a:r>
              <a:rPr lang="ru-RU" sz="1400" kern="0" dirty="0"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cs typeface="Arial" panose="020B0604020202020204" pitchFamily="34" charset="0"/>
              </a:rPr>
              <a:t>уәкілетті</a:t>
            </a:r>
            <a:r>
              <a:rPr lang="ru-RU" sz="1400" kern="0" dirty="0">
                <a:cs typeface="Arial" panose="020B0604020202020204" pitchFamily="34" charset="0"/>
              </a:rPr>
              <a:t> орган </a:t>
            </a:r>
            <a:r>
              <a:rPr lang="ru-RU" sz="1400" b="1" kern="0" dirty="0" err="1">
                <a:cs typeface="Arial" panose="020B0604020202020204" pitchFamily="34" charset="0"/>
              </a:rPr>
              <a:t>бекіткен</a:t>
            </a:r>
            <a:r>
              <a:rPr lang="ru-RU" sz="1400" b="1" kern="0" dirty="0">
                <a:cs typeface="Arial" panose="020B0604020202020204" pitchFamily="34" charset="0"/>
              </a:rPr>
              <a:t> </a:t>
            </a:r>
            <a:r>
              <a:rPr lang="ru-RU" sz="1400" b="1" kern="0" dirty="0" err="1">
                <a:cs typeface="Arial" panose="020B0604020202020204" pitchFamily="34" charset="0"/>
              </a:rPr>
              <a:t>жоқ</a:t>
            </a:r>
            <a:r>
              <a:rPr lang="ru-RU" sz="1400" b="1" kern="0" dirty="0" smtClean="0">
                <a:cs typeface="Arial" panose="020B0604020202020204" pitchFamily="34" charset="0"/>
              </a:rPr>
              <a:t>.</a:t>
            </a: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kern="0" dirty="0" smtClean="0">
                <a:cs typeface="Arial" panose="020B0604020202020204" pitchFamily="34" charset="0"/>
              </a:rPr>
              <a:t>2025 </a:t>
            </a:r>
            <a:r>
              <a:rPr lang="ru-RU" sz="1400" kern="0" dirty="0" err="1">
                <a:cs typeface="Arial" panose="020B0604020202020204" pitchFamily="34" charset="0"/>
              </a:rPr>
              <a:t>жылы</a:t>
            </a:r>
            <a:r>
              <a:rPr lang="ru-RU" sz="1400" kern="0" dirty="0"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cs typeface="Arial" panose="020B0604020202020204" pitchFamily="34" charset="0"/>
              </a:rPr>
              <a:t>реттелетін</a:t>
            </a:r>
            <a:r>
              <a:rPr lang="ru-RU" sz="1400" kern="0" dirty="0"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cs typeface="Arial" panose="020B0604020202020204" pitchFamily="34" charset="0"/>
              </a:rPr>
              <a:t>қызмет</a:t>
            </a:r>
            <a:r>
              <a:rPr lang="ru-RU" sz="1400" kern="0" dirty="0"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cs typeface="Arial" panose="020B0604020202020204" pitchFamily="34" charset="0"/>
              </a:rPr>
              <a:t>көрсету</a:t>
            </a:r>
            <a:r>
              <a:rPr lang="ru-RU" sz="1400" kern="0" dirty="0"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cs typeface="Arial" panose="020B0604020202020204" pitchFamily="34" charset="0"/>
              </a:rPr>
              <a:t>кезінде</a:t>
            </a:r>
            <a:r>
              <a:rPr lang="ru-RU" sz="1400" kern="0" dirty="0"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cs typeface="Arial" panose="020B0604020202020204" pitchFamily="34" charset="0"/>
              </a:rPr>
              <a:t>тартылған</a:t>
            </a:r>
            <a:r>
              <a:rPr lang="ru-RU" sz="1400" kern="0" dirty="0"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cs typeface="Arial" panose="020B0604020202020204" pitchFamily="34" charset="0"/>
              </a:rPr>
              <a:t>негізгі</a:t>
            </a:r>
            <a:r>
              <a:rPr lang="ru-RU" sz="1400" kern="0" dirty="0"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cs typeface="Arial" panose="020B0604020202020204" pitchFamily="34" charset="0"/>
              </a:rPr>
              <a:t>құралдар</a:t>
            </a:r>
            <a:r>
              <a:rPr lang="ru-RU" sz="1400" kern="0" dirty="0"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cs typeface="Arial" panose="020B0604020202020204" pitchFamily="34" charset="0"/>
              </a:rPr>
              <a:t>бойынша</a:t>
            </a:r>
            <a:r>
              <a:rPr lang="ru-RU" sz="1400" kern="0" dirty="0"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cs typeface="Arial" panose="020B0604020202020204" pitchFamily="34" charset="0"/>
              </a:rPr>
              <a:t>амортизациялық</a:t>
            </a:r>
            <a:r>
              <a:rPr lang="ru-RU" sz="1400" kern="0" dirty="0"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cs typeface="Arial" panose="020B0604020202020204" pitchFamily="34" charset="0"/>
              </a:rPr>
              <a:t>аударымдардың</a:t>
            </a:r>
            <a:r>
              <a:rPr lang="ru-RU" sz="1400" kern="0" dirty="0"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cs typeface="Arial" panose="020B0604020202020204" pitchFamily="34" charset="0"/>
              </a:rPr>
              <a:t>нақты</a:t>
            </a:r>
            <a:r>
              <a:rPr lang="ru-RU" sz="1400" kern="0" dirty="0"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cs typeface="Arial" panose="020B0604020202020204" pitchFamily="34" charset="0"/>
              </a:rPr>
              <a:t>сомасы</a:t>
            </a:r>
            <a:r>
              <a:rPr lang="ru-RU" sz="1400" kern="0" dirty="0"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chemeClr val="accent1"/>
                </a:solidFill>
              </a:rPr>
              <a:t>10 892 </a:t>
            </a:r>
            <a:r>
              <a:rPr lang="ru-RU" sz="1400" kern="0" dirty="0" err="1">
                <a:cs typeface="Arial" panose="020B0604020202020204" pitchFamily="34" charset="0"/>
              </a:rPr>
              <a:t>мың</a:t>
            </a:r>
            <a:r>
              <a:rPr lang="ru-RU" sz="1400" kern="0" dirty="0"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cs typeface="Arial" panose="020B0604020202020204" pitchFamily="34" charset="0"/>
              </a:rPr>
              <a:t>теңгені</a:t>
            </a:r>
            <a:r>
              <a:rPr lang="ru-RU" sz="1400" kern="0" dirty="0"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cs typeface="Arial" panose="020B0604020202020204" pitchFamily="34" charset="0"/>
              </a:rPr>
              <a:t>құрады</a:t>
            </a:r>
            <a:r>
              <a:rPr lang="ru-RU" sz="1400" kern="0" dirty="0">
                <a:cs typeface="Arial" panose="020B0604020202020204" pitchFamily="34" charset="0"/>
              </a:rPr>
              <a:t>. </a:t>
            </a:r>
            <a:r>
              <a:rPr lang="ru-RU" sz="1400" kern="0" dirty="0" err="1">
                <a:cs typeface="Arial" panose="020B0604020202020204" pitchFamily="34" charset="0"/>
              </a:rPr>
              <a:t>Бекітілген</a:t>
            </a:r>
            <a:r>
              <a:rPr lang="ru-RU" sz="1400" kern="0" dirty="0"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cs typeface="Arial" panose="020B0604020202020204" pitchFamily="34" charset="0"/>
              </a:rPr>
              <a:t>тарифтік</a:t>
            </a:r>
            <a:r>
              <a:rPr lang="ru-RU" sz="1400" kern="0" dirty="0"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cs typeface="Arial" panose="020B0604020202020204" pitchFamily="34" charset="0"/>
              </a:rPr>
              <a:t>сметада</a:t>
            </a:r>
            <a:r>
              <a:rPr lang="ru-RU" sz="1400" kern="0" dirty="0"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chemeClr val="accent1"/>
                </a:solidFill>
              </a:rPr>
              <a:t>5 955 </a:t>
            </a:r>
            <a:r>
              <a:rPr lang="ru-RU" sz="1400" kern="0" dirty="0" err="1">
                <a:cs typeface="Arial" panose="020B0604020202020204" pitchFamily="34" charset="0"/>
              </a:rPr>
              <a:t>мың</a:t>
            </a:r>
            <a:r>
              <a:rPr lang="ru-RU" sz="1400" kern="0" dirty="0"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cs typeface="Arial" panose="020B0604020202020204" pitchFamily="34" charset="0"/>
              </a:rPr>
              <a:t>теңге</a:t>
            </a:r>
            <a:r>
              <a:rPr lang="ru-RU" sz="1400" kern="0" dirty="0"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cs typeface="Arial" panose="020B0604020202020204" pitchFamily="34" charset="0"/>
              </a:rPr>
              <a:t>мөлшерінде</a:t>
            </a:r>
            <a:r>
              <a:rPr lang="ru-RU" sz="1400" kern="0" dirty="0"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cs typeface="Arial" panose="020B0604020202020204" pitchFamily="34" charset="0"/>
              </a:rPr>
              <a:t>амортизациялық</a:t>
            </a:r>
            <a:r>
              <a:rPr lang="ru-RU" sz="1400" kern="0" dirty="0"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cs typeface="Arial" panose="020B0604020202020204" pitchFamily="34" charset="0"/>
              </a:rPr>
              <a:t>аударымдар</a:t>
            </a:r>
            <a:r>
              <a:rPr lang="ru-RU" sz="1400" kern="0" dirty="0"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cs typeface="Arial" panose="020B0604020202020204" pitchFamily="34" charset="0"/>
              </a:rPr>
              <a:t>сомасы</a:t>
            </a:r>
            <a:r>
              <a:rPr lang="ru-RU" sz="1400" kern="0" dirty="0">
                <a:cs typeface="Arial" panose="020B0604020202020204" pitchFamily="34" charset="0"/>
              </a:rPr>
              <a:t> </a:t>
            </a:r>
            <a:r>
              <a:rPr lang="ru-RU" sz="1400" kern="0" dirty="0" err="1" smtClean="0">
                <a:cs typeface="Arial" panose="020B0604020202020204" pitchFamily="34" charset="0"/>
              </a:rPr>
              <a:t>көзделген</a:t>
            </a:r>
            <a:r>
              <a:rPr lang="ru-RU" sz="1400" dirty="0" smtClean="0"/>
              <a:t>. </a:t>
            </a: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dirty="0" err="1"/>
              <a:t>Бекітілген</a:t>
            </a:r>
            <a:r>
              <a:rPr lang="ru-RU" sz="1400" dirty="0"/>
              <a:t> </a:t>
            </a:r>
            <a:r>
              <a:rPr lang="ru-RU" sz="1400" dirty="0" err="1"/>
              <a:t>тарифтік</a:t>
            </a:r>
            <a:r>
              <a:rPr lang="ru-RU" sz="1400" dirty="0"/>
              <a:t> </a:t>
            </a:r>
            <a:r>
              <a:rPr lang="ru-RU" sz="1400" dirty="0" err="1"/>
              <a:t>сметада</a:t>
            </a:r>
            <a:r>
              <a:rPr lang="ru-RU" sz="1400" dirty="0"/>
              <a:t> </a:t>
            </a:r>
            <a:r>
              <a:rPr lang="ru-RU" sz="1400" dirty="0" err="1"/>
              <a:t>көзделген</a:t>
            </a:r>
            <a:r>
              <a:rPr lang="ru-RU" sz="1400" dirty="0"/>
              <a:t> </a:t>
            </a:r>
            <a:r>
              <a:rPr lang="ru-RU" sz="1400" dirty="0" err="1"/>
              <a:t>амортизациялық</a:t>
            </a:r>
            <a:r>
              <a:rPr lang="ru-RU" sz="1400" dirty="0"/>
              <a:t> </a:t>
            </a:r>
            <a:r>
              <a:rPr lang="ru-RU" sz="1400" dirty="0" err="1"/>
              <a:t>аударымдар</a:t>
            </a:r>
            <a:r>
              <a:rPr lang="ru-RU" sz="1400" dirty="0"/>
              <a:t> </a:t>
            </a:r>
            <a:r>
              <a:rPr lang="ru-RU" sz="1400" dirty="0" err="1"/>
              <a:t>сомасы</a:t>
            </a:r>
            <a:r>
              <a:rPr lang="ru-RU" sz="1400" dirty="0"/>
              <a:t> 2025 </a:t>
            </a:r>
            <a:r>
              <a:rPr lang="ru-RU" sz="1400" dirty="0" err="1"/>
              <a:t>жылы</a:t>
            </a:r>
            <a:r>
              <a:rPr lang="ru-RU" sz="1400" dirty="0"/>
              <a:t> </a:t>
            </a:r>
            <a:r>
              <a:rPr lang="ru-RU" sz="1400" dirty="0" err="1"/>
              <a:t>жалпы</a:t>
            </a:r>
            <a:r>
              <a:rPr lang="ru-RU" sz="1400" dirty="0"/>
              <a:t> </a:t>
            </a:r>
            <a:r>
              <a:rPr lang="ru-RU" sz="1400" dirty="0" err="1"/>
              <a:t>сомасы</a:t>
            </a:r>
            <a:r>
              <a:rPr lang="ru-RU" sz="1400" dirty="0"/>
              <a:t> </a:t>
            </a:r>
            <a:r>
              <a:rPr lang="ru-RU" sz="1400" b="1" dirty="0">
                <a:solidFill>
                  <a:schemeClr val="accent1"/>
                </a:solidFill>
              </a:rPr>
              <a:t>71 544,42 </a:t>
            </a:r>
            <a:r>
              <a:rPr lang="ru-RU" sz="1400" dirty="0" err="1"/>
              <a:t>мың</a:t>
            </a:r>
            <a:r>
              <a:rPr lang="ru-RU" sz="1400" dirty="0"/>
              <a:t> </a:t>
            </a:r>
            <a:r>
              <a:rPr lang="ru-RU" sz="1400" dirty="0" err="1"/>
              <a:t>теңгеге</a:t>
            </a:r>
            <a:r>
              <a:rPr lang="ru-RU" sz="1400" dirty="0"/>
              <a:t> </a:t>
            </a:r>
            <a:r>
              <a:rPr lang="ru-RU" sz="1400" dirty="0" err="1"/>
              <a:t>күрделі</a:t>
            </a:r>
            <a:r>
              <a:rPr lang="ru-RU" sz="1400" dirty="0"/>
              <a:t> </a:t>
            </a:r>
            <a:r>
              <a:rPr lang="ru-RU" sz="1400" dirty="0" err="1"/>
              <a:t>жөндеу</a:t>
            </a:r>
            <a:r>
              <a:rPr lang="ru-RU" sz="1400" dirty="0"/>
              <a:t> </a:t>
            </a:r>
            <a:r>
              <a:rPr lang="ru-RU" sz="1400" dirty="0" err="1"/>
              <a:t>бойынша</a:t>
            </a:r>
            <a:r>
              <a:rPr lang="ru-RU" sz="1400" dirty="0"/>
              <a:t> </a:t>
            </a:r>
            <a:r>
              <a:rPr lang="ru-RU" sz="1400" dirty="0" err="1"/>
              <a:t>мынадай</a:t>
            </a:r>
            <a:r>
              <a:rPr lang="ru-RU" sz="1400" dirty="0"/>
              <a:t> </a:t>
            </a:r>
            <a:r>
              <a:rPr lang="ru-RU" sz="1400" dirty="0" err="1"/>
              <a:t>іс-шараларды</a:t>
            </a:r>
            <a:r>
              <a:rPr lang="ru-RU" sz="1400" dirty="0"/>
              <a:t> </a:t>
            </a:r>
            <a:r>
              <a:rPr lang="ru-RU" sz="1400" dirty="0" err="1"/>
              <a:t>орындауға</a:t>
            </a:r>
            <a:r>
              <a:rPr lang="ru-RU" sz="1400" dirty="0"/>
              <a:t> </a:t>
            </a:r>
            <a:r>
              <a:rPr lang="ru-RU" sz="1400" dirty="0" err="1"/>
              <a:t>жіберілді</a:t>
            </a:r>
            <a:r>
              <a:rPr lang="ru-RU" sz="1400" dirty="0" smtClean="0"/>
              <a:t>:</a:t>
            </a: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dirty="0" smtClean="0"/>
              <a:t>НПК </a:t>
            </a:r>
            <a:r>
              <a:rPr lang="ru-RU" sz="1400" dirty="0"/>
              <a:t>№1 2025 </a:t>
            </a:r>
            <a:r>
              <a:rPr lang="ru-RU" sz="1400" dirty="0" err="1"/>
              <a:t>сорғысы</a:t>
            </a:r>
            <a:r>
              <a:rPr lang="ru-RU" sz="1400" dirty="0"/>
              <a:t>, НПК №2 </a:t>
            </a:r>
            <a:r>
              <a:rPr lang="ru-RU" sz="1400" dirty="0" err="1"/>
              <a:t>сорғысы</a:t>
            </a:r>
            <a:r>
              <a:rPr lang="ru-RU" sz="1400" dirty="0"/>
              <a:t>, насос 2 №3 6НДС 2025 </a:t>
            </a:r>
            <a:r>
              <a:rPr lang="ru-RU" sz="1400" dirty="0" err="1"/>
              <a:t>сорғысы</a:t>
            </a:r>
            <a:r>
              <a:rPr lang="ru-RU" sz="1400" dirty="0"/>
              <a:t>, НДК№1 2025 </a:t>
            </a:r>
            <a:r>
              <a:rPr lang="ru-RU" sz="1400" dirty="0" err="1"/>
              <a:t>сорығысы</a:t>
            </a:r>
            <a:r>
              <a:rPr lang="ru-RU" sz="1400" dirty="0"/>
              <a:t>, № 2, 3 </a:t>
            </a:r>
            <a:r>
              <a:rPr lang="ru-RU" sz="1400" dirty="0" err="1"/>
              <a:t>ылғалды</a:t>
            </a:r>
            <a:r>
              <a:rPr lang="ru-RU" sz="1400" dirty="0"/>
              <a:t> коагулянт </a:t>
            </a:r>
            <a:r>
              <a:rPr lang="ru-RU" sz="1400" dirty="0" err="1" smtClean="0"/>
              <a:t>ұяшықтары</a:t>
            </a:r>
            <a:r>
              <a:rPr lang="ru-RU" sz="1400" dirty="0" smtClean="0"/>
              <a:t>, </a:t>
            </a:r>
            <a:r>
              <a:rPr lang="ru-RU" sz="1400" dirty="0"/>
              <a:t>мех. №4 т/б </a:t>
            </a:r>
            <a:r>
              <a:rPr lang="ru-RU" sz="1400" dirty="0" err="1"/>
              <a:t>сүзгі</a:t>
            </a:r>
            <a:r>
              <a:rPr lang="ru-RU" sz="1400" dirty="0"/>
              <a:t>, №2,3 </a:t>
            </a:r>
            <a:r>
              <a:rPr lang="ru-RU" sz="1400" dirty="0" err="1"/>
              <a:t>коагулянтты</a:t>
            </a:r>
            <a:r>
              <a:rPr lang="ru-RU" sz="1400" dirty="0"/>
              <a:t> </a:t>
            </a:r>
            <a:r>
              <a:rPr lang="ru-RU" sz="1400" dirty="0" err="1"/>
              <a:t>сақтау</a:t>
            </a:r>
            <a:r>
              <a:rPr lang="ru-RU" sz="1400" dirty="0"/>
              <a:t> </a:t>
            </a:r>
            <a:r>
              <a:rPr lang="ru-RU" sz="1400" dirty="0" err="1" smtClean="0"/>
              <a:t>ұяшықтары</a:t>
            </a:r>
            <a:endParaRPr lang="ru-RU" sz="1400" dirty="0" smtClean="0"/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dirty="0" smtClean="0"/>
              <a:t>«ЕЭК» </a:t>
            </a:r>
            <a:r>
              <a:rPr lang="ru-RU" sz="1400" dirty="0"/>
              <a:t>АҚ </a:t>
            </a:r>
            <a:r>
              <a:rPr lang="ru-RU" sz="1400" dirty="0" err="1"/>
              <a:t>үшін</a:t>
            </a:r>
            <a:r>
              <a:rPr lang="ru-RU" sz="1400" dirty="0"/>
              <a:t> </a:t>
            </a:r>
            <a:r>
              <a:rPr lang="ru-RU" sz="1400" dirty="0" err="1"/>
              <a:t>реттелетін</a:t>
            </a:r>
            <a:r>
              <a:rPr lang="ru-RU" sz="1400" dirty="0"/>
              <a:t> </a:t>
            </a:r>
            <a:r>
              <a:rPr lang="ru-RU" sz="1400" dirty="0" err="1"/>
              <a:t>қызметтердің</a:t>
            </a:r>
            <a:r>
              <a:rPr lang="ru-RU" sz="1400" dirty="0"/>
              <a:t> </a:t>
            </a:r>
            <a:r>
              <a:rPr lang="ru-RU" sz="1400" dirty="0" err="1"/>
              <a:t>сапасы</a:t>
            </a:r>
            <a:r>
              <a:rPr lang="ru-RU" sz="1400" dirty="0"/>
              <a:t> мен </a:t>
            </a:r>
            <a:r>
              <a:rPr lang="ru-RU" sz="1400" dirty="0" err="1"/>
              <a:t>сенімділігінің</a:t>
            </a:r>
            <a:r>
              <a:rPr lang="ru-RU" sz="1400" dirty="0"/>
              <a:t> </a:t>
            </a:r>
            <a:r>
              <a:rPr lang="ru-RU" sz="1400" dirty="0" err="1"/>
              <a:t>көрсеткіштері</a:t>
            </a:r>
            <a:r>
              <a:rPr lang="ru-RU" sz="1400" dirty="0"/>
              <a:t> </a:t>
            </a:r>
            <a:r>
              <a:rPr lang="ru-RU" sz="1400" dirty="0" err="1"/>
              <a:t>және</a:t>
            </a:r>
            <a:r>
              <a:rPr lang="ru-RU" sz="1400" dirty="0"/>
              <a:t> </a:t>
            </a:r>
            <a:r>
              <a:rPr lang="ru-RU" sz="1400" dirty="0" err="1"/>
              <a:t>қызметінің</a:t>
            </a:r>
            <a:r>
              <a:rPr lang="ru-RU" sz="1400" dirty="0"/>
              <a:t> </a:t>
            </a:r>
            <a:r>
              <a:rPr lang="ru-RU" sz="1400" dirty="0" err="1"/>
              <a:t>тиімділік</a:t>
            </a:r>
            <a:r>
              <a:rPr lang="ru-RU" sz="1400" dirty="0"/>
              <a:t> </a:t>
            </a:r>
            <a:r>
              <a:rPr lang="ru-RU" sz="1400" dirty="0" err="1"/>
              <a:t>көрсеткіштерін</a:t>
            </a:r>
            <a:r>
              <a:rPr lang="ru-RU" sz="1400" dirty="0"/>
              <a:t> </a:t>
            </a:r>
            <a:r>
              <a:rPr lang="ru-RU" sz="1400" dirty="0" err="1"/>
              <a:t>уәкілетті</a:t>
            </a:r>
            <a:r>
              <a:rPr lang="ru-RU" sz="1400" dirty="0"/>
              <a:t> орган </a:t>
            </a:r>
            <a:r>
              <a:rPr lang="ru-RU" sz="1400" b="1" dirty="0" err="1"/>
              <a:t>әзірлемеген</a:t>
            </a:r>
            <a:r>
              <a:rPr lang="ru-RU" sz="1400" b="1" dirty="0"/>
              <a:t> </a:t>
            </a:r>
            <a:r>
              <a:rPr lang="ru-RU" sz="1400" b="1" dirty="0" err="1"/>
              <a:t>және</a:t>
            </a:r>
            <a:r>
              <a:rPr lang="ru-RU" sz="1400" b="1" dirty="0"/>
              <a:t> </a:t>
            </a:r>
            <a:r>
              <a:rPr lang="ru-RU" sz="1400" b="1" dirty="0" err="1"/>
              <a:t>бекітпеген</a:t>
            </a:r>
            <a:r>
              <a:rPr lang="ru-RU" sz="1400" b="1" dirty="0" smtClean="0"/>
              <a:t>.</a:t>
            </a:r>
          </a:p>
          <a:p>
            <a:r>
              <a:rPr lang="ru-RU" sz="14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2.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2025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жылғы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тарифтік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сметаның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бап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бойынша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орындалуы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туралы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ақпарат</a:t>
            </a:r>
            <a:endParaRPr lang="ru-RU" sz="1400" b="1" dirty="0">
              <a:solidFill>
                <a:schemeClr val="tx2">
                  <a:lumMod val="75000"/>
                </a:schemeClr>
              </a:solidFill>
              <a:latin typeface="Arial (Основной текст)"/>
              <a:ea typeface="Times New Roman"/>
            </a:endParaRPr>
          </a:p>
          <a:p>
            <a:r>
              <a:rPr lang="ru-RU" sz="1400" dirty="0" smtClean="0">
                <a:latin typeface="Arial (Основной текст)"/>
              </a:rPr>
              <a:t>«ЕЭК» </a:t>
            </a:r>
            <a:r>
              <a:rPr lang="ru-RU" sz="1400" dirty="0">
                <a:latin typeface="Arial (Основной текст)"/>
              </a:rPr>
              <a:t>АҚ-</a:t>
            </a:r>
            <a:r>
              <a:rPr lang="ru-RU" sz="1400" dirty="0" err="1">
                <a:latin typeface="Arial (Основной текст)"/>
              </a:rPr>
              <a:t>ның</a:t>
            </a:r>
            <a:r>
              <a:rPr lang="ru-RU" sz="1400" dirty="0">
                <a:latin typeface="Arial (Основной текст)"/>
              </a:rPr>
              <a:t> 2025 </a:t>
            </a:r>
            <a:r>
              <a:rPr lang="ru-RU" sz="1400" dirty="0" err="1">
                <a:latin typeface="Arial (Основной текст)"/>
              </a:rPr>
              <a:t>жылға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қызмет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көрсетуге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жұмсаған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шығындары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b="1" dirty="0">
                <a:solidFill>
                  <a:schemeClr val="accent1"/>
                </a:solidFill>
              </a:rPr>
              <a:t>66 055,96 </a:t>
            </a:r>
            <a:r>
              <a:rPr lang="ru-RU" sz="1400" dirty="0" err="1">
                <a:latin typeface="Arial (Основной текст)"/>
              </a:rPr>
              <a:t>мың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теңге</a:t>
            </a:r>
            <a:r>
              <a:rPr lang="ru-RU" sz="1400" dirty="0">
                <a:latin typeface="Arial (Основной текст)"/>
              </a:rPr>
              <a:t>, </a:t>
            </a:r>
            <a:r>
              <a:rPr lang="ru-RU" sz="1400" dirty="0" err="1">
                <a:latin typeface="Arial (Основной текст)"/>
              </a:rPr>
              <a:t>бекітілген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тарифтік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сметадан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b="1" dirty="0">
                <a:solidFill>
                  <a:schemeClr val="accent1"/>
                </a:solidFill>
              </a:rPr>
              <a:t>334%</a:t>
            </a:r>
            <a:r>
              <a:rPr lang="ru-RU" sz="1400" dirty="0">
                <a:latin typeface="Arial (Основной текст)"/>
              </a:rPr>
              <a:t> - </a:t>
            </a:r>
            <a:r>
              <a:rPr lang="ru-RU" sz="1400" dirty="0" err="1">
                <a:latin typeface="Arial (Основной текст)"/>
              </a:rPr>
              <a:t>ға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 smtClean="0">
                <a:latin typeface="Arial (Основной текст)"/>
              </a:rPr>
              <a:t>артық</a:t>
            </a:r>
            <a:r>
              <a:rPr lang="ru-RU" sz="1400" dirty="0" smtClean="0">
                <a:latin typeface="Arial (Основной текст)"/>
              </a:rPr>
              <a:t>.</a:t>
            </a:r>
          </a:p>
          <a:p>
            <a:r>
              <a:rPr lang="ru-RU" sz="1400" dirty="0" err="1" smtClean="0">
                <a:latin typeface="Arial (Основной текст)"/>
              </a:rPr>
              <a:t>Жалпы</a:t>
            </a:r>
            <a:r>
              <a:rPr lang="ru-RU" sz="1400" dirty="0" smtClean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тарифтік</a:t>
            </a:r>
            <a:r>
              <a:rPr lang="ru-RU" sz="1400" dirty="0">
                <a:latin typeface="Arial (Основной текст)"/>
              </a:rPr>
              <a:t> смета </a:t>
            </a:r>
            <a:r>
              <a:rPr lang="ru-RU" sz="1400" dirty="0" err="1">
                <a:latin typeface="Arial (Основной текст)"/>
              </a:rPr>
              <a:t>бойынша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шығындардың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артық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шығыны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жалақының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өсуіне</a:t>
            </a:r>
            <a:r>
              <a:rPr lang="ru-RU" sz="1400" dirty="0">
                <a:latin typeface="Arial (Основной текст)"/>
              </a:rPr>
              <a:t>, </a:t>
            </a:r>
            <a:r>
              <a:rPr lang="ru-RU" sz="1400" dirty="0" err="1">
                <a:latin typeface="Arial (Основной текст)"/>
              </a:rPr>
              <a:t>үшінші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тарап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ұйымдарының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материалдарының</a:t>
            </a:r>
            <a:r>
              <a:rPr lang="ru-RU" sz="1400" dirty="0">
                <a:latin typeface="Arial (Основной текст)"/>
              </a:rPr>
              <a:t>, </a:t>
            </a:r>
            <a:r>
              <a:rPr lang="ru-RU" sz="1400" dirty="0" err="1">
                <a:latin typeface="Arial (Основной текст)"/>
              </a:rPr>
              <a:t>жөндеулерінің</a:t>
            </a:r>
            <a:r>
              <a:rPr lang="ru-RU" sz="1400" dirty="0">
                <a:latin typeface="Arial (Основной текст)"/>
              </a:rPr>
              <a:t>, </a:t>
            </a:r>
            <a:r>
              <a:rPr lang="ru-RU" sz="1400" dirty="0" err="1">
                <a:latin typeface="Arial (Основной текст)"/>
              </a:rPr>
              <a:t>қызметтерінің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құнына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және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бекітілген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тарифтік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сметада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көзделмеген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шығындардың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болуына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байланысты</a:t>
            </a:r>
            <a:r>
              <a:rPr lang="ru-RU" sz="1400" dirty="0" smtClean="0">
                <a:latin typeface="Arial (Основной текст)"/>
              </a:rPr>
              <a:t>.</a:t>
            </a:r>
          </a:p>
          <a:p>
            <a:r>
              <a:rPr lang="ru-RU" sz="1400" b="1" dirty="0" smtClean="0">
                <a:latin typeface="Arial (Основной текст)"/>
              </a:rPr>
              <a:t>3. </a:t>
            </a:r>
            <a:r>
              <a:rPr lang="ru-RU" sz="1400" b="1" dirty="0" err="1">
                <a:latin typeface="Arial (Основной текст)"/>
              </a:rPr>
              <a:t>Көрсетілген</a:t>
            </a:r>
            <a:r>
              <a:rPr lang="ru-RU" sz="1400" b="1" dirty="0">
                <a:latin typeface="Arial (Основной текст)"/>
              </a:rPr>
              <a:t> </a:t>
            </a:r>
            <a:r>
              <a:rPr lang="ru-RU" sz="1400" b="1" dirty="0" err="1">
                <a:latin typeface="Arial (Основной текст)"/>
              </a:rPr>
              <a:t>қызметтердің</a:t>
            </a:r>
            <a:r>
              <a:rPr lang="ru-RU" sz="1400" b="1" dirty="0">
                <a:latin typeface="Arial (Основной текст)"/>
              </a:rPr>
              <a:t> </a:t>
            </a:r>
            <a:r>
              <a:rPr lang="ru-RU" sz="1400" b="1" dirty="0" err="1">
                <a:latin typeface="Arial (Основной текст)"/>
              </a:rPr>
              <a:t>көлемі</a:t>
            </a:r>
            <a:r>
              <a:rPr lang="ru-RU" sz="1400" b="1" dirty="0">
                <a:latin typeface="Arial (Основной текст)"/>
              </a:rPr>
              <a:t> </a:t>
            </a:r>
            <a:r>
              <a:rPr lang="ru-RU" sz="1400" b="1" dirty="0" err="1">
                <a:latin typeface="Arial (Основной текст)"/>
              </a:rPr>
              <a:t>туралы</a:t>
            </a:r>
            <a:r>
              <a:rPr lang="ru-RU" sz="1400" b="1" dirty="0">
                <a:latin typeface="Arial (Основной текст)"/>
              </a:rPr>
              <a:t> </a:t>
            </a:r>
            <a:r>
              <a:rPr lang="ru-RU" sz="1400" b="1" dirty="0" err="1">
                <a:latin typeface="Arial (Основной текст)"/>
              </a:rPr>
              <a:t>ақпарат</a:t>
            </a:r>
            <a:r>
              <a:rPr lang="ru-RU" sz="1400" b="1" dirty="0">
                <a:latin typeface="Arial (Основной текст)"/>
              </a:rPr>
              <a:t> </a:t>
            </a:r>
            <a:r>
              <a:rPr lang="ru-RU" sz="1400" b="1" dirty="0" err="1" smtClean="0">
                <a:latin typeface="Arial (Основной текст)"/>
              </a:rPr>
              <a:t>көрсетілген</a:t>
            </a:r>
            <a:r>
              <a:rPr lang="ru-RU" sz="1400" b="1" dirty="0" smtClean="0">
                <a:latin typeface="Arial (Основной текст)"/>
              </a:rPr>
              <a:t> </a:t>
            </a:r>
            <a:r>
              <a:rPr lang="ru-RU" sz="1400" b="1" dirty="0" err="1">
                <a:latin typeface="Arial (Основной текст)"/>
              </a:rPr>
              <a:t>қызметтер</a:t>
            </a:r>
            <a:r>
              <a:rPr lang="ru-RU" sz="1400" b="1" dirty="0">
                <a:latin typeface="Arial (Основной текст)"/>
              </a:rPr>
              <a:t> </a:t>
            </a:r>
            <a:r>
              <a:rPr lang="ru-RU" sz="1400" b="1" dirty="0" err="1">
                <a:latin typeface="Arial (Основной текст)"/>
              </a:rPr>
              <a:t>көлемі</a:t>
            </a:r>
            <a:r>
              <a:rPr lang="ru-RU" sz="1400" b="1" dirty="0">
                <a:latin typeface="Arial (Основной текст)"/>
              </a:rPr>
              <a:t> </a:t>
            </a:r>
            <a:r>
              <a:rPr lang="ru-RU" sz="1400" b="1" dirty="0">
                <a:solidFill>
                  <a:schemeClr val="accent1"/>
                </a:solidFill>
                <a:latin typeface="Arial (Основной текст)"/>
              </a:rPr>
              <a:t>406,66 </a:t>
            </a:r>
            <a:r>
              <a:rPr lang="ru-RU" sz="1400" b="1" dirty="0" err="1">
                <a:latin typeface="Arial (Основной текст)"/>
              </a:rPr>
              <a:t>мың</a:t>
            </a:r>
            <a:r>
              <a:rPr lang="ru-RU" sz="1400" b="1" dirty="0">
                <a:latin typeface="Arial (Основной текст)"/>
              </a:rPr>
              <a:t> м3 </a:t>
            </a:r>
            <a:r>
              <a:rPr lang="ru-RU" sz="1400" b="1" dirty="0" err="1">
                <a:latin typeface="Arial (Основной текст)"/>
              </a:rPr>
              <a:t>құрады</a:t>
            </a:r>
            <a:r>
              <a:rPr lang="ru-RU" sz="1400" b="1" dirty="0">
                <a:latin typeface="Arial (Основной текст)"/>
              </a:rPr>
              <a:t>. </a:t>
            </a:r>
            <a:endParaRPr lang="ru-RU" sz="1400" b="1" dirty="0" smtClean="0">
              <a:latin typeface="Arial (Основной текст)"/>
            </a:endParaRPr>
          </a:p>
          <a:p>
            <a:r>
              <a:rPr lang="ru-RU" sz="1400" dirty="0" err="1" smtClean="0">
                <a:latin typeface="Arial (Основной текст)"/>
              </a:rPr>
              <a:t>Сату</a:t>
            </a:r>
            <a:r>
              <a:rPr lang="ru-RU" sz="1400" dirty="0" smtClean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көлемінің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ұлғаюы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реттелетін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қызметті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тұтынушының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сұранысының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артуына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байланысты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болды</a:t>
            </a:r>
            <a:r>
              <a:rPr lang="ru-RU" sz="1400" dirty="0">
                <a:latin typeface="Arial (Основной текст)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ru-RU" sz="1400" b="1" dirty="0" smtClean="0">
                <a:latin typeface="Arial (Основной текст)"/>
              </a:rPr>
              <a:t>4. </a:t>
            </a:r>
            <a:r>
              <a:rPr lang="ru-RU" sz="1400" b="1" dirty="0" err="1">
                <a:latin typeface="Arial (Основной текст)"/>
              </a:rPr>
              <a:t>Негізгі</a:t>
            </a:r>
            <a:r>
              <a:rPr lang="ru-RU" sz="1400" b="1" dirty="0">
                <a:latin typeface="Arial (Основной текст)"/>
              </a:rPr>
              <a:t> </a:t>
            </a:r>
            <a:r>
              <a:rPr lang="ru-RU" sz="1400" b="1" dirty="0" err="1">
                <a:latin typeface="Arial (Основной текст)"/>
              </a:rPr>
              <a:t>қаржы-экономикалық</a:t>
            </a:r>
            <a:r>
              <a:rPr lang="ru-RU" sz="1400" b="1" dirty="0">
                <a:latin typeface="Arial (Основной текст)"/>
              </a:rPr>
              <a:t> </a:t>
            </a:r>
            <a:r>
              <a:rPr lang="ru-RU" sz="1400" b="1" dirty="0" err="1">
                <a:latin typeface="Arial (Основной текст)"/>
              </a:rPr>
              <a:t>көрсеткіштер</a:t>
            </a:r>
            <a:r>
              <a:rPr lang="ru-RU" sz="1400" b="1" dirty="0">
                <a:latin typeface="Arial (Основной текст)"/>
              </a:rPr>
              <a:t> </a:t>
            </a:r>
            <a:r>
              <a:rPr lang="ru-RU" sz="1400" b="1" dirty="0" err="1">
                <a:latin typeface="Arial (Основной текст)"/>
              </a:rPr>
              <a:t>туралы</a:t>
            </a:r>
            <a:r>
              <a:rPr lang="ru-RU" sz="1400" b="1" dirty="0">
                <a:latin typeface="Arial (Основной текст)"/>
              </a:rPr>
              <a:t> </a:t>
            </a:r>
            <a:r>
              <a:rPr lang="ru-RU" sz="1400" b="1" dirty="0" err="1">
                <a:latin typeface="Arial (Основной текст)"/>
              </a:rPr>
              <a:t>ақпарат</a:t>
            </a:r>
            <a:endParaRPr lang="ru-RU" sz="1400" b="1" dirty="0">
              <a:latin typeface="Arial (Основной текст)"/>
            </a:endParaRPr>
          </a:p>
          <a:p>
            <a:r>
              <a:rPr lang="ru-RU" sz="1400" dirty="0" err="1" smtClean="0">
                <a:latin typeface="Arial (Основной текст)"/>
              </a:rPr>
              <a:t>Табыс</a:t>
            </a:r>
            <a:r>
              <a:rPr lang="ru-RU" sz="1400" dirty="0" smtClean="0">
                <a:latin typeface="Arial (Основной текст)"/>
              </a:rPr>
              <a:t> - </a:t>
            </a:r>
            <a:r>
              <a:rPr lang="ru-RU" sz="1400" b="1" dirty="0">
                <a:solidFill>
                  <a:schemeClr val="accent1"/>
                </a:solidFill>
                <a:latin typeface="Arial (Основной текст)"/>
              </a:rPr>
              <a:t>17 083,95 </a:t>
            </a:r>
            <a:r>
              <a:rPr lang="ru-RU" sz="1400" dirty="0" err="1">
                <a:latin typeface="Arial (Основной текст)"/>
              </a:rPr>
              <a:t>мың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теңге</a:t>
            </a:r>
            <a:r>
              <a:rPr lang="ru-RU" sz="1400" dirty="0">
                <a:latin typeface="Arial (Основной текст)"/>
              </a:rPr>
              <a:t>, </a:t>
            </a:r>
            <a:endParaRPr lang="ru-RU" sz="1400" dirty="0" smtClean="0">
              <a:latin typeface="Arial (Основной текст)"/>
            </a:endParaRPr>
          </a:p>
          <a:p>
            <a:r>
              <a:rPr lang="ru-RU" sz="1400" dirty="0" err="1" smtClean="0">
                <a:latin typeface="Arial (Основной текст)"/>
              </a:rPr>
              <a:t>Шығындар</a:t>
            </a:r>
            <a:r>
              <a:rPr lang="ru-RU" sz="1400" dirty="0" smtClean="0">
                <a:latin typeface="Arial (Основной текст)"/>
              </a:rPr>
              <a:t> - </a:t>
            </a:r>
            <a:r>
              <a:rPr lang="ru-RU" sz="1400" b="1" dirty="0">
                <a:solidFill>
                  <a:schemeClr val="accent1"/>
                </a:solidFill>
                <a:latin typeface="Arial (Основной текст)"/>
              </a:rPr>
              <a:t>66 055,96 </a:t>
            </a:r>
            <a:r>
              <a:rPr lang="ru-RU" sz="1400" dirty="0" err="1">
                <a:latin typeface="Arial (Основной текст)"/>
              </a:rPr>
              <a:t>мың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>
                <a:latin typeface="Arial (Основной текст)"/>
              </a:rPr>
              <a:t>теңге</a:t>
            </a:r>
            <a:r>
              <a:rPr lang="ru-RU" sz="1400" dirty="0">
                <a:latin typeface="Arial (Основной текст)"/>
              </a:rPr>
              <a:t>. </a:t>
            </a:r>
            <a:endParaRPr lang="ru-RU" sz="1400" dirty="0" smtClean="0">
              <a:latin typeface="Arial (Основной текст)"/>
            </a:endParaRPr>
          </a:p>
          <a:p>
            <a:r>
              <a:rPr lang="ru-RU" sz="1400" smtClean="0">
                <a:latin typeface="Arial (Основной текст)"/>
              </a:rPr>
              <a:t>Залал </a:t>
            </a:r>
            <a:r>
              <a:rPr lang="ru-RU" sz="1400" dirty="0" smtClean="0">
                <a:latin typeface="Arial (Основной текст)"/>
              </a:rPr>
              <a:t>- </a:t>
            </a:r>
            <a:r>
              <a:rPr lang="ru-RU" sz="1400" b="1" dirty="0">
                <a:solidFill>
                  <a:schemeClr val="accent1"/>
                </a:solidFill>
                <a:latin typeface="Arial (Основной текст)"/>
              </a:rPr>
              <a:t>48 972,01 </a:t>
            </a:r>
            <a:r>
              <a:rPr lang="ru-RU" sz="1400" dirty="0" err="1">
                <a:latin typeface="Arial (Основной текст)"/>
              </a:rPr>
              <a:t>мың</a:t>
            </a:r>
            <a:r>
              <a:rPr lang="ru-RU" sz="1400" dirty="0">
                <a:latin typeface="Arial (Основной текст)"/>
              </a:rPr>
              <a:t> </a:t>
            </a:r>
            <a:r>
              <a:rPr lang="ru-RU" sz="1400" dirty="0" err="1" smtClean="0">
                <a:latin typeface="Arial (Основной текст)"/>
              </a:rPr>
              <a:t>теңге</a:t>
            </a:r>
            <a:endParaRPr lang="ru-RU" sz="1400" dirty="0" smtClean="0">
              <a:latin typeface="Arial (Основной текст)"/>
            </a:endParaRPr>
          </a:p>
          <a:p>
            <a:endParaRPr lang="ru-RU" sz="1400" dirty="0">
              <a:latin typeface="Arial (Основной текст)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2025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көрсетілетін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қызметтердің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сапасына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тұтынушылар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тарапынан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шағымдар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жоқ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1974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069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49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body" sz="quarter" idx="11"/>
          </p:nvPr>
        </p:nvSpPr>
        <p:spPr/>
        <p:txBody>
          <a:bodyPr vert="horz"/>
          <a:lstStyle/>
          <a:p>
            <a:pPr algn="ctr"/>
            <a:r>
              <a:rPr lang="ru-RU" dirty="0" err="1" smtClean="0">
                <a:solidFill>
                  <a:schemeClr val="accent1"/>
                </a:solidFill>
              </a:rPr>
              <a:t>Назарларыңызға</a:t>
            </a:r>
            <a:r>
              <a:rPr lang="ru-RU" dirty="0" smtClean="0">
                <a:solidFill>
                  <a:schemeClr val="accent1"/>
                </a:solidFill>
              </a:rPr>
              <a:t> </a:t>
            </a:r>
            <a:r>
              <a:rPr lang="ru-RU" smtClean="0">
                <a:solidFill>
                  <a:schemeClr val="accent1"/>
                </a:solidFill>
              </a:rPr>
              <a:t>рақмет</a:t>
            </a:r>
            <a:r>
              <a:rPr lang="ru-RU" dirty="0" smtClean="0">
                <a:solidFill>
                  <a:schemeClr val="accent1"/>
                </a:solidFill>
              </a:rPr>
              <a:t>!</a:t>
            </a:r>
            <a:endParaRPr lang="ru-RU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959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7204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06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>
                <a:solidFill>
                  <a:schemeClr val="accent1"/>
                </a:solidFill>
              </a:rPr>
              <a:t>ЕЭК:  </a:t>
            </a:r>
            <a:r>
              <a:rPr lang="ru-RU" dirty="0" err="1" smtClean="0"/>
              <a:t>Табиғи</a:t>
            </a:r>
            <a:r>
              <a:rPr lang="ru-RU" dirty="0" smtClean="0"/>
              <a:t> монополия </a:t>
            </a:r>
            <a:r>
              <a:rPr lang="ru-RU" dirty="0" err="1" smtClean="0"/>
              <a:t>субъектісі</a:t>
            </a:r>
            <a:r>
              <a:rPr lang="ru-RU" dirty="0" smtClean="0"/>
              <a:t> </a:t>
            </a:r>
            <a:r>
              <a:rPr lang="ru-RU" dirty="0" err="1" smtClean="0"/>
              <a:t>туралы</a:t>
            </a:r>
            <a:r>
              <a:rPr lang="ru-RU" dirty="0" smtClean="0"/>
              <a:t> </a:t>
            </a:r>
            <a:r>
              <a:rPr lang="ru-RU" dirty="0" err="1" smtClean="0"/>
              <a:t>жалпы</a:t>
            </a:r>
            <a:r>
              <a:rPr lang="ru-RU" dirty="0" smtClean="0"/>
              <a:t> </a:t>
            </a:r>
            <a:r>
              <a:rPr lang="ru-RU" dirty="0" err="1" smtClean="0"/>
              <a:t>ақпарат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17499" y="4041006"/>
            <a:ext cx="5498441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u="sng" dirty="0" err="1"/>
              <a:t>Реттелетін</a:t>
            </a:r>
            <a:r>
              <a:rPr lang="ru-RU" sz="1600" u="sng" dirty="0"/>
              <a:t> </a:t>
            </a:r>
            <a:r>
              <a:rPr lang="ru-RU" sz="1600" u="sng" dirty="0" err="1"/>
              <a:t>қызметтерге</a:t>
            </a:r>
            <a:r>
              <a:rPr lang="ru-RU" sz="1600" u="sng" dirty="0"/>
              <a:t> </a:t>
            </a:r>
            <a:r>
              <a:rPr lang="ru-RU" sz="1600" u="sng" dirty="0" err="1" smtClean="0"/>
              <a:t>тарифтер</a:t>
            </a:r>
            <a:r>
              <a:rPr lang="ru-RU" sz="1600" u="sng" dirty="0" smtClean="0"/>
              <a:t>: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 err="1"/>
              <a:t>Жылу</a:t>
            </a:r>
            <a:r>
              <a:rPr lang="ru-RU" sz="1600" dirty="0"/>
              <a:t> </a:t>
            </a:r>
            <a:r>
              <a:rPr lang="ru-RU" sz="1600" dirty="0" err="1"/>
              <a:t>энергиясын</a:t>
            </a:r>
            <a:r>
              <a:rPr lang="ru-RU" sz="1600" dirty="0"/>
              <a:t> </a:t>
            </a:r>
            <a:r>
              <a:rPr lang="ru-RU" sz="1600" dirty="0" err="1" smtClean="0"/>
              <a:t>өндіру</a:t>
            </a:r>
            <a:r>
              <a:rPr lang="ru-RU" sz="1600" dirty="0" smtClean="0"/>
              <a:t>: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 smtClean="0"/>
              <a:t>2025 ж. </a:t>
            </a:r>
            <a:r>
              <a:rPr lang="ru-RU" sz="1600" dirty="0" err="1" smtClean="0"/>
              <a:t>қаңтар-шілде</a:t>
            </a:r>
            <a:r>
              <a:rPr lang="ru-RU" sz="1600" dirty="0" smtClean="0"/>
              <a:t> </a:t>
            </a:r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– </a:t>
            </a:r>
            <a:r>
              <a:rPr lang="en-US" sz="1600" dirty="0" smtClean="0">
                <a:solidFill>
                  <a:schemeClr val="accent2">
                    <a:lumMod val="75000"/>
                  </a:schemeClr>
                </a:solidFill>
              </a:rPr>
              <a:t>1 8</a:t>
            </a:r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3</a:t>
            </a:r>
            <a:r>
              <a:rPr lang="en-US" sz="1600" dirty="0" smtClean="0">
                <a:solidFill>
                  <a:schemeClr val="accent2">
                    <a:lumMod val="75000"/>
                  </a:schemeClr>
                </a:solidFill>
              </a:rPr>
              <a:t>2,</a:t>
            </a:r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67</a:t>
            </a:r>
            <a:r>
              <a:rPr lang="en-US" sz="1600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ru-RU" sz="1600" dirty="0" err="1" smtClean="0"/>
              <a:t>теңге</a:t>
            </a:r>
            <a:r>
              <a:rPr lang="ru-RU" sz="1600" dirty="0" smtClean="0"/>
              <a:t>/Гкал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 smtClean="0"/>
              <a:t>2025 ж. </a:t>
            </a:r>
            <a:r>
              <a:rPr lang="ru-RU" sz="1600" dirty="0" err="1" smtClean="0"/>
              <a:t>тамыз-желтоқсан</a:t>
            </a:r>
            <a:r>
              <a:rPr lang="ru-RU" sz="1600" dirty="0" smtClean="0"/>
              <a:t>- </a:t>
            </a:r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1908,69</a:t>
            </a:r>
            <a:r>
              <a:rPr lang="ru-RU" sz="1600" dirty="0" smtClean="0"/>
              <a:t> </a:t>
            </a:r>
            <a:r>
              <a:rPr lang="ru-RU" sz="1600" dirty="0" err="1" smtClean="0"/>
              <a:t>теңге</a:t>
            </a:r>
            <a:r>
              <a:rPr lang="ru-RU" sz="1600" dirty="0" smtClean="0"/>
              <a:t>/</a:t>
            </a:r>
            <a:r>
              <a:rPr lang="ru-RU" sz="1600" dirty="0"/>
              <a:t>Г</a:t>
            </a:r>
            <a:r>
              <a:rPr lang="ru-RU" sz="1600" dirty="0" smtClean="0"/>
              <a:t>кал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600" dirty="0" err="1"/>
              <a:t>тарату</a:t>
            </a:r>
            <a:r>
              <a:rPr lang="ru-RU" sz="1600" dirty="0"/>
              <a:t> </a:t>
            </a:r>
            <a:r>
              <a:rPr lang="ru-RU" sz="1600" dirty="0" err="1"/>
              <a:t>желілері</a:t>
            </a:r>
            <a:r>
              <a:rPr lang="ru-RU" sz="1600" dirty="0"/>
              <a:t> </a:t>
            </a:r>
            <a:r>
              <a:rPr lang="ru-RU" sz="1600" dirty="0" err="1"/>
              <a:t>арқылы</a:t>
            </a:r>
            <a:r>
              <a:rPr lang="ru-RU" sz="1600" dirty="0"/>
              <a:t> су беру– </a:t>
            </a:r>
            <a:r>
              <a:rPr lang="ru-RU" sz="1600" dirty="0" smtClean="0">
                <a:solidFill>
                  <a:schemeClr val="accent1"/>
                </a:solidFill>
              </a:rPr>
              <a:t>42,01 </a:t>
            </a:r>
            <a:r>
              <a:rPr lang="ru-RU" sz="1600" dirty="0" err="1" smtClean="0"/>
              <a:t>теңге</a:t>
            </a:r>
            <a:r>
              <a:rPr lang="ru-RU" sz="1600" dirty="0" smtClean="0"/>
              <a:t>/м3 </a:t>
            </a:r>
            <a:endParaRPr lang="ru-RU" sz="16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306367" y="6193789"/>
            <a:ext cx="1101915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>
                <a:solidFill>
                  <a:prstClr val="black"/>
                </a:solidFill>
              </a:rPr>
              <a:t>«ЕЭК» </a:t>
            </a:r>
            <a:r>
              <a:rPr lang="ru-RU" sz="1600" dirty="0">
                <a:solidFill>
                  <a:prstClr val="black"/>
                </a:solidFill>
              </a:rPr>
              <a:t>АҚ </a:t>
            </a:r>
            <a:r>
              <a:rPr lang="ru-RU" sz="1600" dirty="0" err="1">
                <a:solidFill>
                  <a:prstClr val="black"/>
                </a:solidFill>
              </a:rPr>
              <a:t>үшін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реттелетін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қызметтердің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сапасы</a:t>
            </a:r>
            <a:r>
              <a:rPr lang="ru-RU" sz="1600" dirty="0">
                <a:solidFill>
                  <a:prstClr val="black"/>
                </a:solidFill>
              </a:rPr>
              <a:t> мен </a:t>
            </a:r>
            <a:r>
              <a:rPr lang="ru-RU" sz="1600" dirty="0" err="1">
                <a:solidFill>
                  <a:prstClr val="black"/>
                </a:solidFill>
              </a:rPr>
              <a:t>сенімділігінің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көрсеткіштері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және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қызмет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тиімділігінің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 smtClean="0">
                <a:solidFill>
                  <a:prstClr val="black"/>
                </a:solidFill>
              </a:rPr>
              <a:t>көрсеткіштерін</a:t>
            </a:r>
            <a:r>
              <a:rPr lang="ru-RU" sz="1600" dirty="0" smtClean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уәкілетті</a:t>
            </a:r>
            <a:r>
              <a:rPr lang="ru-RU" sz="1600" dirty="0">
                <a:solidFill>
                  <a:prstClr val="black"/>
                </a:solidFill>
              </a:rPr>
              <a:t> орган </a:t>
            </a:r>
            <a:r>
              <a:rPr lang="ru-RU" sz="1600" b="1" dirty="0" err="1" smtClean="0">
                <a:solidFill>
                  <a:prstClr val="black"/>
                </a:solidFill>
              </a:rPr>
              <a:t>әзірлемеген</a:t>
            </a:r>
            <a:r>
              <a:rPr lang="ru-RU" sz="1600" b="1" dirty="0" smtClean="0">
                <a:solidFill>
                  <a:prstClr val="black"/>
                </a:solidFill>
              </a:rPr>
              <a:t> </a:t>
            </a:r>
            <a:r>
              <a:rPr lang="ru-RU" sz="1600" b="1" dirty="0" err="1">
                <a:solidFill>
                  <a:prstClr val="black"/>
                </a:solidFill>
              </a:rPr>
              <a:t>және</a:t>
            </a:r>
            <a:r>
              <a:rPr lang="ru-RU" sz="1600" b="1" dirty="0">
                <a:solidFill>
                  <a:prstClr val="black"/>
                </a:solidFill>
              </a:rPr>
              <a:t> </a:t>
            </a:r>
            <a:r>
              <a:rPr lang="ru-RU" sz="1600" b="1" dirty="0" err="1" smtClean="0">
                <a:solidFill>
                  <a:prstClr val="black"/>
                </a:solidFill>
              </a:rPr>
              <a:t>бекітпеген</a:t>
            </a:r>
            <a:r>
              <a:rPr lang="ru-RU" sz="1600" b="1" dirty="0" smtClean="0">
                <a:solidFill>
                  <a:prstClr val="black"/>
                </a:solidFill>
              </a:rPr>
              <a:t>. </a:t>
            </a:r>
            <a:endParaRPr lang="ru-RU" sz="1600" b="1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95874" y="1616991"/>
            <a:ext cx="2934201" cy="3101227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09844" y="3337014"/>
            <a:ext cx="3114675" cy="279256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17499" y="826418"/>
            <a:ext cx="11184690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 smtClean="0"/>
              <a:t>«</a:t>
            </a:r>
            <a:r>
              <a:rPr lang="ru-RU" sz="1600" dirty="0" err="1" smtClean="0"/>
              <a:t>Еуроазиаттық</a:t>
            </a:r>
            <a:r>
              <a:rPr lang="ru-RU" sz="1600" dirty="0" smtClean="0"/>
              <a:t> </a:t>
            </a:r>
            <a:r>
              <a:rPr lang="ru-RU" sz="1600" dirty="0" err="1"/>
              <a:t>энергетикалық</a:t>
            </a:r>
            <a:r>
              <a:rPr lang="ru-RU" sz="1600" dirty="0"/>
              <a:t> </a:t>
            </a:r>
            <a:r>
              <a:rPr lang="ru-RU" sz="1600" dirty="0" err="1" smtClean="0"/>
              <a:t>корпорациясы</a:t>
            </a:r>
            <a:r>
              <a:rPr lang="ru-RU" sz="1600" dirty="0" smtClean="0"/>
              <a:t>» </a:t>
            </a:r>
            <a:r>
              <a:rPr lang="ru-RU" sz="1600" dirty="0"/>
              <a:t>АҚ (ЕЭК) - 1996 </a:t>
            </a:r>
            <a:r>
              <a:rPr lang="ru-RU" sz="1600" dirty="0" err="1"/>
              <a:t>жылы</a:t>
            </a:r>
            <a:r>
              <a:rPr lang="ru-RU" sz="1600" dirty="0"/>
              <a:t> </a:t>
            </a:r>
            <a:r>
              <a:rPr lang="ru-RU" sz="1600" dirty="0" err="1"/>
              <a:t>құрылған</a:t>
            </a:r>
            <a:r>
              <a:rPr lang="ru-RU" sz="1600" dirty="0"/>
              <a:t> </a:t>
            </a:r>
            <a:r>
              <a:rPr lang="ru-RU" sz="1600" dirty="0" err="1"/>
              <a:t>Қазақстандағы</a:t>
            </a:r>
            <a:r>
              <a:rPr lang="ru-RU" sz="1600" dirty="0"/>
              <a:t> </a:t>
            </a:r>
            <a:r>
              <a:rPr lang="ru-RU" sz="1600" dirty="0" err="1"/>
              <a:t>электр</a:t>
            </a:r>
            <a:r>
              <a:rPr lang="ru-RU" sz="1600" dirty="0"/>
              <a:t> </a:t>
            </a:r>
            <a:r>
              <a:rPr lang="ru-RU" sz="1600" dirty="0" err="1"/>
              <a:t>энергиясы</a:t>
            </a:r>
            <a:r>
              <a:rPr lang="ru-RU" sz="1600" dirty="0"/>
              <a:t> мен </a:t>
            </a:r>
            <a:r>
              <a:rPr lang="ru-RU" sz="1600" dirty="0" err="1"/>
              <a:t>көмірді</a:t>
            </a:r>
            <a:r>
              <a:rPr lang="ru-RU" sz="1600" dirty="0"/>
              <a:t> </a:t>
            </a:r>
            <a:r>
              <a:rPr lang="ru-RU" sz="1600" dirty="0" err="1"/>
              <a:t>ірі</a:t>
            </a:r>
            <a:r>
              <a:rPr lang="ru-RU" sz="1600" dirty="0"/>
              <a:t> </a:t>
            </a:r>
            <a:r>
              <a:rPr lang="ru-RU" sz="1600" dirty="0" err="1"/>
              <a:t>жеткізушілердің</a:t>
            </a:r>
            <a:r>
              <a:rPr lang="ru-RU" sz="1600" dirty="0"/>
              <a:t> </a:t>
            </a:r>
            <a:r>
              <a:rPr lang="ru-RU" sz="1600" dirty="0" err="1" smtClean="0"/>
              <a:t>бірі</a:t>
            </a:r>
            <a:endParaRPr lang="ru-RU" sz="1600" dirty="0"/>
          </a:p>
        </p:txBody>
      </p:sp>
      <p:sp>
        <p:nvSpPr>
          <p:cNvPr id="6" name="TextBox 5"/>
          <p:cNvSpPr txBox="1"/>
          <p:nvPr/>
        </p:nvSpPr>
        <p:spPr>
          <a:xfrm>
            <a:off x="317499" y="1351855"/>
            <a:ext cx="7661844" cy="198515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 smtClean="0"/>
              <a:t>«ЕЭК» </a:t>
            </a:r>
            <a:r>
              <a:rPr lang="ru-RU" sz="1600" dirty="0"/>
              <a:t>АҚ </a:t>
            </a:r>
            <a:r>
              <a:rPr lang="ru-RU" sz="1600" dirty="0" err="1"/>
              <a:t>мынадай</a:t>
            </a:r>
            <a:r>
              <a:rPr lang="ru-RU" sz="1600" dirty="0"/>
              <a:t> </a:t>
            </a:r>
            <a:r>
              <a:rPr lang="ru-RU" sz="1600" dirty="0" err="1"/>
              <a:t>қызмет</a:t>
            </a:r>
            <a:r>
              <a:rPr lang="ru-RU" sz="1600" dirty="0"/>
              <a:t> </a:t>
            </a:r>
            <a:r>
              <a:rPr lang="ru-RU" sz="1600" dirty="0" err="1"/>
              <a:t>түрлері</a:t>
            </a:r>
            <a:r>
              <a:rPr lang="ru-RU" sz="1600" dirty="0"/>
              <a:t> </a:t>
            </a:r>
            <a:r>
              <a:rPr lang="ru-RU" sz="1600" dirty="0" err="1"/>
              <a:t>бойынша</a:t>
            </a:r>
            <a:r>
              <a:rPr lang="ru-RU" sz="1600" dirty="0"/>
              <a:t> </a:t>
            </a:r>
            <a:r>
              <a:rPr lang="ru-RU" sz="1600" dirty="0" err="1"/>
              <a:t>табиғи</a:t>
            </a:r>
            <a:r>
              <a:rPr lang="ru-RU" sz="1600" dirty="0"/>
              <a:t> </a:t>
            </a:r>
            <a:r>
              <a:rPr lang="ru-RU" sz="1600" dirty="0" err="1"/>
              <a:t>монополиялар</a:t>
            </a:r>
            <a:r>
              <a:rPr lang="ru-RU" sz="1600" dirty="0"/>
              <a:t> </a:t>
            </a:r>
            <a:r>
              <a:rPr lang="ru-RU" sz="1600" dirty="0" err="1"/>
              <a:t>субъектісі</a:t>
            </a:r>
            <a:r>
              <a:rPr lang="ru-RU" sz="1600" dirty="0"/>
              <a:t> </a:t>
            </a:r>
            <a:r>
              <a:rPr lang="ru-RU" sz="1600" dirty="0" err="1"/>
              <a:t>болып</a:t>
            </a:r>
            <a:r>
              <a:rPr lang="ru-RU" sz="1600" dirty="0"/>
              <a:t> </a:t>
            </a:r>
            <a:r>
              <a:rPr lang="ru-RU" sz="1600" dirty="0" err="1" smtClean="0"/>
              <a:t>табылады</a:t>
            </a:r>
            <a:r>
              <a:rPr lang="ru-RU" sz="1600" dirty="0" smtClean="0"/>
              <a:t>: </a:t>
            </a:r>
          </a:p>
          <a:p>
            <a:pPr indent="625475" algn="just">
              <a:spcBef>
                <a:spcPts val="600"/>
              </a:spcBef>
              <a:spcAft>
                <a:spcPts val="600"/>
              </a:spcAft>
            </a:pPr>
            <a:r>
              <a:rPr lang="ru-RU" sz="1600" b="1" dirty="0" err="1"/>
              <a:t>жылу</a:t>
            </a:r>
            <a:r>
              <a:rPr lang="ru-RU" sz="1600" b="1" dirty="0"/>
              <a:t> </a:t>
            </a:r>
            <a:r>
              <a:rPr lang="ru-RU" sz="1600" b="1" dirty="0" err="1"/>
              <a:t>энергиясын</a:t>
            </a:r>
            <a:r>
              <a:rPr lang="ru-RU" sz="1600" b="1" dirty="0"/>
              <a:t> </a:t>
            </a:r>
            <a:r>
              <a:rPr lang="ru-RU" sz="1600" b="1" dirty="0" err="1"/>
              <a:t>өндіру</a:t>
            </a:r>
            <a:r>
              <a:rPr lang="ru-RU" sz="1600" b="1" dirty="0"/>
              <a:t> </a:t>
            </a:r>
            <a:endParaRPr lang="en-US" sz="1600" b="1" dirty="0"/>
          </a:p>
          <a:p>
            <a:pPr indent="625475" algn="just">
              <a:spcBef>
                <a:spcPts val="600"/>
              </a:spcBef>
              <a:spcAft>
                <a:spcPts val="600"/>
              </a:spcAft>
            </a:pPr>
            <a:r>
              <a:rPr lang="ru-RU" sz="1600" b="1" dirty="0" err="1"/>
              <a:t>тарату</a:t>
            </a:r>
            <a:r>
              <a:rPr lang="ru-RU" sz="1600" b="1" dirty="0"/>
              <a:t> </a:t>
            </a:r>
            <a:r>
              <a:rPr lang="ru-RU" sz="1600" b="1" dirty="0" err="1"/>
              <a:t>желілері</a:t>
            </a:r>
            <a:r>
              <a:rPr lang="ru-RU" sz="1600" b="1" dirty="0"/>
              <a:t> </a:t>
            </a:r>
            <a:r>
              <a:rPr lang="ru-RU" sz="1600" b="1" dirty="0" err="1"/>
              <a:t>арқылы</a:t>
            </a:r>
            <a:r>
              <a:rPr lang="ru-RU" sz="1600" b="1" dirty="0"/>
              <a:t> су беру. </a:t>
            </a:r>
            <a:r>
              <a:rPr lang="ru-RU" sz="1600" b="1" dirty="0" smtClean="0"/>
              <a:t> </a:t>
            </a:r>
            <a:r>
              <a:rPr lang="ru-RU" sz="1200" i="1" dirty="0" smtClean="0"/>
              <a:t>2017 </a:t>
            </a:r>
            <a:r>
              <a:rPr lang="ru-RU" sz="1200" i="1" dirty="0" err="1"/>
              <a:t>жылдан</a:t>
            </a:r>
            <a:r>
              <a:rPr lang="ru-RU" sz="1200" i="1" dirty="0"/>
              <a:t> </a:t>
            </a:r>
            <a:r>
              <a:rPr lang="ru-RU" sz="1200" i="1" dirty="0" err="1"/>
              <a:t>бастап</a:t>
            </a:r>
            <a:r>
              <a:rPr lang="ru-RU" sz="1200" i="1" dirty="0"/>
              <a:t> </a:t>
            </a:r>
            <a:r>
              <a:rPr lang="ru-RU" sz="1200" i="1" dirty="0" smtClean="0"/>
              <a:t>«</a:t>
            </a:r>
            <a:r>
              <a:rPr lang="ru-RU" sz="1200" i="1" dirty="0" err="1" smtClean="0"/>
              <a:t>тарату</a:t>
            </a:r>
            <a:r>
              <a:rPr lang="ru-RU" sz="1200" i="1" dirty="0" smtClean="0"/>
              <a:t> </a:t>
            </a:r>
            <a:r>
              <a:rPr lang="ru-RU" sz="1200" i="1" dirty="0" err="1"/>
              <a:t>желілері</a:t>
            </a:r>
            <a:r>
              <a:rPr lang="ru-RU" sz="1200" i="1" dirty="0"/>
              <a:t> </a:t>
            </a:r>
            <a:r>
              <a:rPr lang="ru-RU" sz="1200" i="1" dirty="0" err="1"/>
              <a:t>арқылы</a:t>
            </a:r>
            <a:r>
              <a:rPr lang="ru-RU" sz="1200" i="1" dirty="0"/>
              <a:t> су </a:t>
            </a:r>
            <a:r>
              <a:rPr lang="ru-RU" sz="1200" i="1" dirty="0" smtClean="0"/>
              <a:t>беру» </a:t>
            </a:r>
            <a:r>
              <a:rPr lang="ru-RU" sz="1200" i="1" dirty="0" err="1"/>
              <a:t>қызметінің</a:t>
            </a:r>
            <a:r>
              <a:rPr lang="ru-RU" sz="1200" i="1" dirty="0"/>
              <a:t> </a:t>
            </a:r>
            <a:r>
              <a:rPr lang="ru-RU" sz="1200" i="1" dirty="0" err="1"/>
              <a:t>түрі</a:t>
            </a:r>
            <a:r>
              <a:rPr lang="ru-RU" sz="1200" i="1" dirty="0"/>
              <a:t> </a:t>
            </a:r>
            <a:r>
              <a:rPr lang="ru-RU" sz="1200" i="1" dirty="0" err="1"/>
              <a:t>бойынша</a:t>
            </a:r>
            <a:r>
              <a:rPr lang="ru-RU" sz="1200" i="1" dirty="0"/>
              <a:t> </a:t>
            </a:r>
            <a:r>
              <a:rPr lang="ru-RU" sz="1200" i="1" dirty="0" err="1"/>
              <a:t>кәсіпорын</a:t>
            </a:r>
            <a:r>
              <a:rPr lang="ru-RU" sz="1200" i="1" dirty="0"/>
              <a:t> </a:t>
            </a:r>
            <a:r>
              <a:rPr lang="ru-RU" sz="1200" i="1" dirty="0" err="1"/>
              <a:t>қуаты</a:t>
            </a:r>
            <a:r>
              <a:rPr lang="ru-RU" sz="1200" i="1" dirty="0"/>
              <a:t> аз </a:t>
            </a:r>
            <a:r>
              <a:rPr lang="ru-RU" sz="1200" i="1" dirty="0" err="1"/>
              <a:t>табиғи</a:t>
            </a:r>
            <a:r>
              <a:rPr lang="ru-RU" sz="1200" i="1" dirty="0"/>
              <a:t> </a:t>
            </a:r>
            <a:r>
              <a:rPr lang="ru-RU" sz="1200" i="1" dirty="0" err="1"/>
              <a:t>монополиялардың</a:t>
            </a:r>
            <a:r>
              <a:rPr lang="ru-RU" sz="1200" i="1" dirty="0"/>
              <a:t> </a:t>
            </a:r>
            <a:r>
              <a:rPr lang="ru-RU" sz="1200" i="1" dirty="0" err="1"/>
              <a:t>субъектісі</a:t>
            </a:r>
            <a:r>
              <a:rPr lang="ru-RU" sz="1200" i="1" dirty="0"/>
              <a:t> </a:t>
            </a:r>
            <a:r>
              <a:rPr lang="ru-RU" sz="1200" i="1" dirty="0" err="1"/>
              <a:t>болып</a:t>
            </a:r>
            <a:r>
              <a:rPr lang="ru-RU" sz="1200" i="1" dirty="0"/>
              <a:t> </a:t>
            </a:r>
            <a:r>
              <a:rPr lang="ru-RU" sz="1200" i="1" dirty="0" err="1" smtClean="0"/>
              <a:t>табылады</a:t>
            </a:r>
            <a:r>
              <a:rPr lang="ru-RU" sz="1200" i="1" dirty="0" smtClean="0"/>
              <a:t>.</a:t>
            </a:r>
            <a:endParaRPr lang="ru-RU" sz="1200" i="1" dirty="0"/>
          </a:p>
          <a:p>
            <a:endParaRPr lang="ru-RU" sz="1600" dirty="0"/>
          </a:p>
        </p:txBody>
      </p:sp>
      <p:grpSp>
        <p:nvGrpSpPr>
          <p:cNvPr id="22" name="Group 490"/>
          <p:cNvGrpSpPr/>
          <p:nvPr/>
        </p:nvGrpSpPr>
        <p:grpSpPr>
          <a:xfrm>
            <a:off x="519060" y="2297787"/>
            <a:ext cx="369888" cy="368300"/>
            <a:chOff x="-3314701" y="4416426"/>
            <a:chExt cx="369888" cy="368300"/>
          </a:xfrm>
        </p:grpSpPr>
        <p:sp>
          <p:nvSpPr>
            <p:cNvPr id="23" name="Freeform 63"/>
            <p:cNvSpPr>
              <a:spLocks/>
            </p:cNvSpPr>
            <p:nvPr/>
          </p:nvSpPr>
          <p:spPr bwMode="auto">
            <a:xfrm>
              <a:off x="-3314701" y="4416426"/>
              <a:ext cx="369888" cy="368300"/>
            </a:xfrm>
            <a:custGeom>
              <a:avLst/>
              <a:gdLst>
                <a:gd name="T0" fmla="*/ 261 w 283"/>
                <a:gd name="T1" fmla="*/ 109 h 283"/>
                <a:gd name="T2" fmla="*/ 253 w 283"/>
                <a:gd name="T3" fmla="*/ 98 h 283"/>
                <a:gd name="T4" fmla="*/ 254 w 283"/>
                <a:gd name="T5" fmla="*/ 120 h 283"/>
                <a:gd name="T6" fmla="*/ 274 w 283"/>
                <a:gd name="T7" fmla="*/ 159 h 283"/>
                <a:gd name="T8" fmla="*/ 252 w 283"/>
                <a:gd name="T9" fmla="*/ 171 h 283"/>
                <a:gd name="T10" fmla="*/ 265 w 283"/>
                <a:gd name="T11" fmla="*/ 192 h 283"/>
                <a:gd name="T12" fmla="*/ 229 w 283"/>
                <a:gd name="T13" fmla="*/ 216 h 283"/>
                <a:gd name="T14" fmla="*/ 215 w 283"/>
                <a:gd name="T15" fmla="*/ 234 h 283"/>
                <a:gd name="T16" fmla="*/ 185 w 283"/>
                <a:gd name="T17" fmla="*/ 252 h 283"/>
                <a:gd name="T18" fmla="*/ 159 w 283"/>
                <a:gd name="T19" fmla="*/ 258 h 283"/>
                <a:gd name="T20" fmla="*/ 124 w 283"/>
                <a:gd name="T21" fmla="*/ 258 h 283"/>
                <a:gd name="T22" fmla="*/ 98 w 283"/>
                <a:gd name="T23" fmla="*/ 252 h 283"/>
                <a:gd name="T24" fmla="*/ 67 w 283"/>
                <a:gd name="T25" fmla="*/ 234 h 283"/>
                <a:gd name="T26" fmla="*/ 54 w 283"/>
                <a:gd name="T27" fmla="*/ 216 h 283"/>
                <a:gd name="T28" fmla="*/ 18 w 283"/>
                <a:gd name="T29" fmla="*/ 192 h 283"/>
                <a:gd name="T30" fmla="*/ 31 w 283"/>
                <a:gd name="T31" fmla="*/ 171 h 283"/>
                <a:gd name="T32" fmla="*/ 9 w 283"/>
                <a:gd name="T33" fmla="*/ 159 h 283"/>
                <a:gd name="T34" fmla="*/ 29 w 283"/>
                <a:gd name="T35" fmla="*/ 120 h 283"/>
                <a:gd name="T36" fmla="*/ 31 w 283"/>
                <a:gd name="T37" fmla="*/ 98 h 283"/>
                <a:gd name="T38" fmla="*/ 48 w 283"/>
                <a:gd name="T39" fmla="*/ 67 h 283"/>
                <a:gd name="T40" fmla="*/ 66 w 283"/>
                <a:gd name="T41" fmla="*/ 54 h 283"/>
                <a:gd name="T42" fmla="*/ 90 w 283"/>
                <a:gd name="T43" fmla="*/ 18 h 283"/>
                <a:gd name="T44" fmla="*/ 120 w 283"/>
                <a:gd name="T45" fmla="*/ 28 h 283"/>
                <a:gd name="T46" fmla="*/ 159 w 283"/>
                <a:gd name="T47" fmla="*/ 9 h 283"/>
                <a:gd name="T48" fmla="*/ 180 w 283"/>
                <a:gd name="T49" fmla="*/ 33 h 283"/>
                <a:gd name="T50" fmla="*/ 223 w 283"/>
                <a:gd name="T51" fmla="*/ 35 h 283"/>
                <a:gd name="T52" fmla="*/ 223 w 283"/>
                <a:gd name="T53" fmla="*/ 60 h 283"/>
                <a:gd name="T54" fmla="*/ 247 w 283"/>
                <a:gd name="T55" fmla="*/ 60 h 283"/>
                <a:gd name="T56" fmla="*/ 275 w 283"/>
                <a:gd name="T57" fmla="*/ 89 h 283"/>
                <a:gd name="T58" fmla="*/ 233 w 283"/>
                <a:gd name="T59" fmla="*/ 58 h 283"/>
                <a:gd name="T60" fmla="*/ 233 w 283"/>
                <a:gd name="T61" fmla="*/ 36 h 283"/>
                <a:gd name="T62" fmla="*/ 193 w 283"/>
                <a:gd name="T63" fmla="*/ 7 h 283"/>
                <a:gd name="T64" fmla="*/ 168 w 283"/>
                <a:gd name="T65" fmla="*/ 20 h 283"/>
                <a:gd name="T66" fmla="*/ 119 w 283"/>
                <a:gd name="T67" fmla="*/ 0 h 283"/>
                <a:gd name="T68" fmla="*/ 104 w 283"/>
                <a:gd name="T69" fmla="*/ 23 h 283"/>
                <a:gd name="T70" fmla="*/ 51 w 283"/>
                <a:gd name="T71" fmla="*/ 29 h 283"/>
                <a:gd name="T72" fmla="*/ 53 w 283"/>
                <a:gd name="T73" fmla="*/ 54 h 283"/>
                <a:gd name="T74" fmla="*/ 30 w 283"/>
                <a:gd name="T75" fmla="*/ 51 h 283"/>
                <a:gd name="T76" fmla="*/ 9 w 283"/>
                <a:gd name="T77" fmla="*/ 96 h 283"/>
                <a:gd name="T78" fmla="*/ 22 w 283"/>
                <a:gd name="T79" fmla="*/ 109 h 283"/>
                <a:gd name="T80" fmla="*/ 0 w 283"/>
                <a:gd name="T81" fmla="*/ 119 h 283"/>
                <a:gd name="T82" fmla="*/ 20 w 283"/>
                <a:gd name="T83" fmla="*/ 168 h 283"/>
                <a:gd name="T84" fmla="*/ 9 w 283"/>
                <a:gd name="T85" fmla="*/ 187 h 283"/>
                <a:gd name="T86" fmla="*/ 30 w 283"/>
                <a:gd name="T87" fmla="*/ 231 h 283"/>
                <a:gd name="T88" fmla="*/ 50 w 283"/>
                <a:gd name="T89" fmla="*/ 225 h 283"/>
                <a:gd name="T90" fmla="*/ 57 w 283"/>
                <a:gd name="T91" fmla="*/ 233 h 283"/>
                <a:gd name="T92" fmla="*/ 90 w 283"/>
                <a:gd name="T93" fmla="*/ 275 h 283"/>
                <a:gd name="T94" fmla="*/ 115 w 283"/>
                <a:gd name="T95" fmla="*/ 262 h 283"/>
                <a:gd name="T96" fmla="*/ 163 w 283"/>
                <a:gd name="T97" fmla="*/ 283 h 283"/>
                <a:gd name="T98" fmla="*/ 179 w 283"/>
                <a:gd name="T99" fmla="*/ 259 h 283"/>
                <a:gd name="T100" fmla="*/ 231 w 283"/>
                <a:gd name="T101" fmla="*/ 253 h 283"/>
                <a:gd name="T102" fmla="*/ 225 w 283"/>
                <a:gd name="T103" fmla="*/ 233 h 283"/>
                <a:gd name="T104" fmla="*/ 233 w 283"/>
                <a:gd name="T105" fmla="*/ 225 h 283"/>
                <a:gd name="T106" fmla="*/ 253 w 283"/>
                <a:gd name="T107" fmla="*/ 231 h 283"/>
                <a:gd name="T108" fmla="*/ 260 w 283"/>
                <a:gd name="T109" fmla="*/ 178 h 283"/>
                <a:gd name="T110" fmla="*/ 262 w 283"/>
                <a:gd name="T111" fmla="*/ 168 h 283"/>
                <a:gd name="T112" fmla="*/ 283 w 283"/>
                <a:gd name="T113" fmla="*/ 119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83" h="283">
                  <a:moveTo>
                    <a:pt x="278" y="115"/>
                  </a:moveTo>
                  <a:cubicBezTo>
                    <a:pt x="262" y="115"/>
                    <a:pt x="262" y="115"/>
                    <a:pt x="262" y="115"/>
                  </a:cubicBezTo>
                  <a:cubicBezTo>
                    <a:pt x="261" y="109"/>
                    <a:pt x="261" y="109"/>
                    <a:pt x="261" y="109"/>
                  </a:cubicBezTo>
                  <a:cubicBezTo>
                    <a:pt x="261" y="109"/>
                    <a:pt x="261" y="109"/>
                    <a:pt x="261" y="109"/>
                  </a:cubicBezTo>
                  <a:cubicBezTo>
                    <a:pt x="259" y="101"/>
                    <a:pt x="259" y="101"/>
                    <a:pt x="259" y="101"/>
                  </a:cubicBezTo>
                  <a:cubicBezTo>
                    <a:pt x="258" y="98"/>
                    <a:pt x="255" y="97"/>
                    <a:pt x="253" y="98"/>
                  </a:cubicBezTo>
                  <a:cubicBezTo>
                    <a:pt x="250" y="98"/>
                    <a:pt x="249" y="101"/>
                    <a:pt x="250" y="103"/>
                  </a:cubicBezTo>
                  <a:cubicBezTo>
                    <a:pt x="252" y="111"/>
                    <a:pt x="252" y="111"/>
                    <a:pt x="252" y="111"/>
                  </a:cubicBezTo>
                  <a:cubicBezTo>
                    <a:pt x="254" y="120"/>
                    <a:pt x="254" y="120"/>
                    <a:pt x="254" y="120"/>
                  </a:cubicBezTo>
                  <a:cubicBezTo>
                    <a:pt x="254" y="122"/>
                    <a:pt x="256" y="124"/>
                    <a:pt x="259" y="124"/>
                  </a:cubicBezTo>
                  <a:cubicBezTo>
                    <a:pt x="274" y="124"/>
                    <a:pt x="274" y="124"/>
                    <a:pt x="274" y="124"/>
                  </a:cubicBezTo>
                  <a:cubicBezTo>
                    <a:pt x="274" y="159"/>
                    <a:pt x="274" y="159"/>
                    <a:pt x="274" y="159"/>
                  </a:cubicBezTo>
                  <a:cubicBezTo>
                    <a:pt x="259" y="159"/>
                    <a:pt x="259" y="159"/>
                    <a:pt x="259" y="159"/>
                  </a:cubicBezTo>
                  <a:cubicBezTo>
                    <a:pt x="256" y="159"/>
                    <a:pt x="254" y="161"/>
                    <a:pt x="254" y="163"/>
                  </a:cubicBezTo>
                  <a:cubicBezTo>
                    <a:pt x="252" y="171"/>
                    <a:pt x="252" y="171"/>
                    <a:pt x="252" y="171"/>
                  </a:cubicBezTo>
                  <a:cubicBezTo>
                    <a:pt x="250" y="179"/>
                    <a:pt x="250" y="179"/>
                    <a:pt x="250" y="179"/>
                  </a:cubicBezTo>
                  <a:cubicBezTo>
                    <a:pt x="249" y="181"/>
                    <a:pt x="250" y="183"/>
                    <a:pt x="252" y="184"/>
                  </a:cubicBezTo>
                  <a:cubicBezTo>
                    <a:pt x="265" y="192"/>
                    <a:pt x="265" y="192"/>
                    <a:pt x="265" y="192"/>
                  </a:cubicBezTo>
                  <a:cubicBezTo>
                    <a:pt x="247" y="223"/>
                    <a:pt x="247" y="223"/>
                    <a:pt x="247" y="223"/>
                  </a:cubicBezTo>
                  <a:cubicBezTo>
                    <a:pt x="235" y="215"/>
                    <a:pt x="235" y="215"/>
                    <a:pt x="235" y="215"/>
                  </a:cubicBezTo>
                  <a:cubicBezTo>
                    <a:pt x="233" y="214"/>
                    <a:pt x="230" y="214"/>
                    <a:pt x="229" y="216"/>
                  </a:cubicBezTo>
                  <a:cubicBezTo>
                    <a:pt x="223" y="222"/>
                    <a:pt x="223" y="222"/>
                    <a:pt x="223" y="222"/>
                  </a:cubicBezTo>
                  <a:cubicBezTo>
                    <a:pt x="216" y="228"/>
                    <a:pt x="216" y="228"/>
                    <a:pt x="216" y="228"/>
                  </a:cubicBezTo>
                  <a:cubicBezTo>
                    <a:pt x="214" y="230"/>
                    <a:pt x="214" y="232"/>
                    <a:pt x="215" y="234"/>
                  </a:cubicBezTo>
                  <a:cubicBezTo>
                    <a:pt x="223" y="247"/>
                    <a:pt x="223" y="247"/>
                    <a:pt x="223" y="247"/>
                  </a:cubicBezTo>
                  <a:cubicBezTo>
                    <a:pt x="192" y="264"/>
                    <a:pt x="192" y="264"/>
                    <a:pt x="192" y="264"/>
                  </a:cubicBezTo>
                  <a:cubicBezTo>
                    <a:pt x="185" y="252"/>
                    <a:pt x="185" y="252"/>
                    <a:pt x="185" y="252"/>
                  </a:cubicBezTo>
                  <a:cubicBezTo>
                    <a:pt x="184" y="250"/>
                    <a:pt x="182" y="249"/>
                    <a:pt x="180" y="250"/>
                  </a:cubicBezTo>
                  <a:cubicBezTo>
                    <a:pt x="162" y="254"/>
                    <a:pt x="162" y="254"/>
                    <a:pt x="162" y="254"/>
                  </a:cubicBezTo>
                  <a:cubicBezTo>
                    <a:pt x="160" y="254"/>
                    <a:pt x="159" y="256"/>
                    <a:pt x="159" y="258"/>
                  </a:cubicBezTo>
                  <a:cubicBezTo>
                    <a:pt x="159" y="274"/>
                    <a:pt x="159" y="274"/>
                    <a:pt x="159" y="274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258"/>
                    <a:pt x="124" y="258"/>
                    <a:pt x="124" y="258"/>
                  </a:cubicBezTo>
                  <a:cubicBezTo>
                    <a:pt x="124" y="256"/>
                    <a:pt x="123" y="254"/>
                    <a:pt x="120" y="254"/>
                  </a:cubicBezTo>
                  <a:cubicBezTo>
                    <a:pt x="103" y="250"/>
                    <a:pt x="103" y="250"/>
                    <a:pt x="103" y="250"/>
                  </a:cubicBezTo>
                  <a:cubicBezTo>
                    <a:pt x="101" y="249"/>
                    <a:pt x="99" y="250"/>
                    <a:pt x="98" y="252"/>
                  </a:cubicBezTo>
                  <a:cubicBezTo>
                    <a:pt x="90" y="264"/>
                    <a:pt x="90" y="264"/>
                    <a:pt x="90" y="264"/>
                  </a:cubicBezTo>
                  <a:cubicBezTo>
                    <a:pt x="60" y="247"/>
                    <a:pt x="60" y="247"/>
                    <a:pt x="60" y="247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8" y="232"/>
                    <a:pt x="68" y="230"/>
                    <a:pt x="66" y="228"/>
                  </a:cubicBezTo>
                  <a:cubicBezTo>
                    <a:pt x="60" y="223"/>
                    <a:pt x="60" y="223"/>
                    <a:pt x="60" y="223"/>
                  </a:cubicBezTo>
                  <a:cubicBezTo>
                    <a:pt x="54" y="216"/>
                    <a:pt x="54" y="216"/>
                    <a:pt x="54" y="216"/>
                  </a:cubicBezTo>
                  <a:cubicBezTo>
                    <a:pt x="53" y="214"/>
                    <a:pt x="50" y="214"/>
                    <a:pt x="48" y="215"/>
                  </a:cubicBezTo>
                  <a:cubicBezTo>
                    <a:pt x="36" y="223"/>
                    <a:pt x="36" y="223"/>
                    <a:pt x="36" y="223"/>
                  </a:cubicBezTo>
                  <a:cubicBezTo>
                    <a:pt x="18" y="192"/>
                    <a:pt x="18" y="192"/>
                    <a:pt x="18" y="192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33" y="183"/>
                    <a:pt x="34" y="181"/>
                    <a:pt x="33" y="179"/>
                  </a:cubicBezTo>
                  <a:cubicBezTo>
                    <a:pt x="31" y="171"/>
                    <a:pt x="31" y="171"/>
                    <a:pt x="31" y="171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28" y="160"/>
                    <a:pt x="26" y="159"/>
                    <a:pt x="24" y="159"/>
                  </a:cubicBezTo>
                  <a:cubicBezTo>
                    <a:pt x="9" y="159"/>
                    <a:pt x="9" y="159"/>
                    <a:pt x="9" y="159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24" y="124"/>
                    <a:pt x="24" y="124"/>
                    <a:pt x="24" y="124"/>
                  </a:cubicBezTo>
                  <a:cubicBezTo>
                    <a:pt x="26" y="124"/>
                    <a:pt x="28" y="122"/>
                    <a:pt x="29" y="120"/>
                  </a:cubicBezTo>
                  <a:cubicBezTo>
                    <a:pt x="31" y="111"/>
                    <a:pt x="31" y="111"/>
                    <a:pt x="31" y="111"/>
                  </a:cubicBezTo>
                  <a:cubicBezTo>
                    <a:pt x="33" y="103"/>
                    <a:pt x="33" y="103"/>
                    <a:pt x="33" y="103"/>
                  </a:cubicBezTo>
                  <a:cubicBezTo>
                    <a:pt x="34" y="101"/>
                    <a:pt x="33" y="99"/>
                    <a:pt x="31" y="98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50" y="69"/>
                    <a:pt x="53" y="68"/>
                    <a:pt x="54" y="67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8" y="52"/>
                    <a:pt x="68" y="50"/>
                    <a:pt x="67" y="48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90" y="18"/>
                    <a:pt x="90" y="18"/>
                    <a:pt x="90" y="18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9" y="32"/>
                    <a:pt x="101" y="33"/>
                    <a:pt x="103" y="33"/>
                  </a:cubicBezTo>
                  <a:cubicBezTo>
                    <a:pt x="120" y="28"/>
                    <a:pt x="120" y="28"/>
                    <a:pt x="120" y="28"/>
                  </a:cubicBezTo>
                  <a:cubicBezTo>
                    <a:pt x="123" y="28"/>
                    <a:pt x="124" y="26"/>
                    <a:pt x="124" y="24"/>
                  </a:cubicBezTo>
                  <a:cubicBezTo>
                    <a:pt x="124" y="9"/>
                    <a:pt x="124" y="9"/>
                    <a:pt x="124" y="9"/>
                  </a:cubicBezTo>
                  <a:cubicBezTo>
                    <a:pt x="159" y="9"/>
                    <a:pt x="159" y="9"/>
                    <a:pt x="159" y="9"/>
                  </a:cubicBezTo>
                  <a:cubicBezTo>
                    <a:pt x="159" y="24"/>
                    <a:pt x="159" y="24"/>
                    <a:pt x="159" y="24"/>
                  </a:cubicBezTo>
                  <a:cubicBezTo>
                    <a:pt x="159" y="26"/>
                    <a:pt x="160" y="28"/>
                    <a:pt x="162" y="28"/>
                  </a:cubicBezTo>
                  <a:cubicBezTo>
                    <a:pt x="180" y="33"/>
                    <a:pt x="180" y="33"/>
                    <a:pt x="180" y="33"/>
                  </a:cubicBezTo>
                  <a:cubicBezTo>
                    <a:pt x="182" y="33"/>
                    <a:pt x="184" y="32"/>
                    <a:pt x="185" y="30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223" y="35"/>
                    <a:pt x="223" y="35"/>
                    <a:pt x="223" y="35"/>
                  </a:cubicBezTo>
                  <a:cubicBezTo>
                    <a:pt x="215" y="48"/>
                    <a:pt x="215" y="48"/>
                    <a:pt x="215" y="48"/>
                  </a:cubicBezTo>
                  <a:cubicBezTo>
                    <a:pt x="214" y="50"/>
                    <a:pt x="214" y="53"/>
                    <a:pt x="216" y="54"/>
                  </a:cubicBezTo>
                  <a:cubicBezTo>
                    <a:pt x="223" y="60"/>
                    <a:pt x="223" y="60"/>
                    <a:pt x="223" y="60"/>
                  </a:cubicBezTo>
                  <a:cubicBezTo>
                    <a:pt x="229" y="67"/>
                    <a:pt x="229" y="67"/>
                    <a:pt x="229" y="67"/>
                  </a:cubicBezTo>
                  <a:cubicBezTo>
                    <a:pt x="231" y="68"/>
                    <a:pt x="233" y="69"/>
                    <a:pt x="235" y="67"/>
                  </a:cubicBezTo>
                  <a:cubicBezTo>
                    <a:pt x="247" y="60"/>
                    <a:pt x="247" y="60"/>
                    <a:pt x="247" y="60"/>
                  </a:cubicBezTo>
                  <a:cubicBezTo>
                    <a:pt x="267" y="94"/>
                    <a:pt x="267" y="94"/>
                    <a:pt x="267" y="94"/>
                  </a:cubicBezTo>
                  <a:cubicBezTo>
                    <a:pt x="269" y="96"/>
                    <a:pt x="272" y="97"/>
                    <a:pt x="274" y="96"/>
                  </a:cubicBezTo>
                  <a:cubicBezTo>
                    <a:pt x="276" y="95"/>
                    <a:pt x="277" y="92"/>
                    <a:pt x="275" y="89"/>
                  </a:cubicBezTo>
                  <a:cubicBezTo>
                    <a:pt x="253" y="51"/>
                    <a:pt x="253" y="51"/>
                    <a:pt x="253" y="51"/>
                  </a:cubicBezTo>
                  <a:cubicBezTo>
                    <a:pt x="252" y="49"/>
                    <a:pt x="249" y="49"/>
                    <a:pt x="247" y="50"/>
                  </a:cubicBezTo>
                  <a:cubicBezTo>
                    <a:pt x="233" y="58"/>
                    <a:pt x="233" y="58"/>
                    <a:pt x="233" y="58"/>
                  </a:cubicBezTo>
                  <a:cubicBezTo>
                    <a:pt x="229" y="54"/>
                    <a:pt x="229" y="54"/>
                    <a:pt x="229" y="54"/>
                  </a:cubicBezTo>
                  <a:cubicBezTo>
                    <a:pt x="225" y="50"/>
                    <a:pt x="225" y="50"/>
                    <a:pt x="225" y="50"/>
                  </a:cubicBezTo>
                  <a:cubicBezTo>
                    <a:pt x="233" y="36"/>
                    <a:pt x="233" y="36"/>
                    <a:pt x="233" y="36"/>
                  </a:cubicBezTo>
                  <a:cubicBezTo>
                    <a:pt x="234" y="35"/>
                    <a:pt x="234" y="33"/>
                    <a:pt x="234" y="32"/>
                  </a:cubicBezTo>
                  <a:cubicBezTo>
                    <a:pt x="233" y="31"/>
                    <a:pt x="232" y="30"/>
                    <a:pt x="231" y="29"/>
                  </a:cubicBezTo>
                  <a:cubicBezTo>
                    <a:pt x="193" y="7"/>
                    <a:pt x="193" y="7"/>
                    <a:pt x="193" y="7"/>
                  </a:cubicBezTo>
                  <a:cubicBezTo>
                    <a:pt x="191" y="6"/>
                    <a:pt x="188" y="7"/>
                    <a:pt x="187" y="9"/>
                  </a:cubicBezTo>
                  <a:cubicBezTo>
                    <a:pt x="179" y="23"/>
                    <a:pt x="179" y="23"/>
                    <a:pt x="179" y="23"/>
                  </a:cubicBezTo>
                  <a:cubicBezTo>
                    <a:pt x="168" y="20"/>
                    <a:pt x="168" y="20"/>
                    <a:pt x="168" y="20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8" y="2"/>
                    <a:pt x="166" y="0"/>
                    <a:pt x="163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7" y="0"/>
                    <a:pt x="115" y="2"/>
                    <a:pt x="115" y="5"/>
                  </a:cubicBezTo>
                  <a:cubicBezTo>
                    <a:pt x="115" y="20"/>
                    <a:pt x="115" y="20"/>
                    <a:pt x="115" y="20"/>
                  </a:cubicBezTo>
                  <a:cubicBezTo>
                    <a:pt x="104" y="23"/>
                    <a:pt x="104" y="23"/>
                    <a:pt x="104" y="23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95" y="7"/>
                    <a:pt x="92" y="6"/>
                    <a:pt x="90" y="7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49" y="31"/>
                    <a:pt x="48" y="34"/>
                    <a:pt x="49" y="36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4" y="49"/>
                    <a:pt x="32" y="49"/>
                    <a:pt x="30" y="51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91"/>
                    <a:pt x="6" y="92"/>
                    <a:pt x="7" y="93"/>
                  </a:cubicBezTo>
                  <a:cubicBezTo>
                    <a:pt x="7" y="94"/>
                    <a:pt x="8" y="95"/>
                    <a:pt x="9" y="96"/>
                  </a:cubicBezTo>
                  <a:cubicBezTo>
                    <a:pt x="23" y="104"/>
                    <a:pt x="23" y="104"/>
                    <a:pt x="23" y="104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0" y="115"/>
                    <a:pt x="20" y="115"/>
                    <a:pt x="20" y="115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2" y="115"/>
                    <a:pt x="0" y="117"/>
                    <a:pt x="0" y="1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6"/>
                    <a:pt x="2" y="168"/>
                    <a:pt x="4" y="168"/>
                  </a:cubicBezTo>
                  <a:cubicBezTo>
                    <a:pt x="20" y="168"/>
                    <a:pt x="20" y="168"/>
                    <a:pt x="20" y="168"/>
                  </a:cubicBezTo>
                  <a:cubicBezTo>
                    <a:pt x="22" y="174"/>
                    <a:pt x="22" y="174"/>
                    <a:pt x="22" y="174"/>
                  </a:cubicBezTo>
                  <a:cubicBezTo>
                    <a:pt x="23" y="178"/>
                    <a:pt x="23" y="178"/>
                    <a:pt x="23" y="178"/>
                  </a:cubicBezTo>
                  <a:cubicBezTo>
                    <a:pt x="9" y="187"/>
                    <a:pt x="9" y="187"/>
                    <a:pt x="9" y="187"/>
                  </a:cubicBezTo>
                  <a:cubicBezTo>
                    <a:pt x="8" y="188"/>
                    <a:pt x="7" y="189"/>
                    <a:pt x="7" y="190"/>
                  </a:cubicBezTo>
                  <a:cubicBezTo>
                    <a:pt x="6" y="191"/>
                    <a:pt x="7" y="192"/>
                    <a:pt x="7" y="193"/>
                  </a:cubicBezTo>
                  <a:cubicBezTo>
                    <a:pt x="30" y="231"/>
                    <a:pt x="30" y="231"/>
                    <a:pt x="30" y="231"/>
                  </a:cubicBezTo>
                  <a:cubicBezTo>
                    <a:pt x="31" y="232"/>
                    <a:pt x="32" y="233"/>
                    <a:pt x="33" y="233"/>
                  </a:cubicBezTo>
                  <a:cubicBezTo>
                    <a:pt x="34" y="234"/>
                    <a:pt x="36" y="234"/>
                    <a:pt x="37" y="233"/>
                  </a:cubicBezTo>
                  <a:cubicBezTo>
                    <a:pt x="50" y="225"/>
                    <a:pt x="50" y="225"/>
                    <a:pt x="50" y="225"/>
                  </a:cubicBezTo>
                  <a:cubicBezTo>
                    <a:pt x="53" y="229"/>
                    <a:pt x="53" y="229"/>
                    <a:pt x="53" y="229"/>
                  </a:cubicBezTo>
                  <a:cubicBezTo>
                    <a:pt x="53" y="229"/>
                    <a:pt x="53" y="229"/>
                    <a:pt x="54" y="229"/>
                  </a:cubicBezTo>
                  <a:cubicBezTo>
                    <a:pt x="57" y="233"/>
                    <a:pt x="57" y="233"/>
                    <a:pt x="57" y="233"/>
                  </a:cubicBezTo>
                  <a:cubicBezTo>
                    <a:pt x="49" y="246"/>
                    <a:pt x="49" y="246"/>
                    <a:pt x="49" y="246"/>
                  </a:cubicBezTo>
                  <a:cubicBezTo>
                    <a:pt x="48" y="249"/>
                    <a:pt x="49" y="252"/>
                    <a:pt x="51" y="253"/>
                  </a:cubicBezTo>
                  <a:cubicBezTo>
                    <a:pt x="90" y="275"/>
                    <a:pt x="90" y="275"/>
                    <a:pt x="90" y="275"/>
                  </a:cubicBezTo>
                  <a:cubicBezTo>
                    <a:pt x="92" y="276"/>
                    <a:pt x="95" y="275"/>
                    <a:pt x="96" y="273"/>
                  </a:cubicBezTo>
                  <a:cubicBezTo>
                    <a:pt x="104" y="259"/>
                    <a:pt x="104" y="259"/>
                    <a:pt x="104" y="259"/>
                  </a:cubicBezTo>
                  <a:cubicBezTo>
                    <a:pt x="115" y="262"/>
                    <a:pt x="115" y="262"/>
                    <a:pt x="115" y="262"/>
                  </a:cubicBezTo>
                  <a:cubicBezTo>
                    <a:pt x="115" y="279"/>
                    <a:pt x="115" y="279"/>
                    <a:pt x="115" y="279"/>
                  </a:cubicBezTo>
                  <a:cubicBezTo>
                    <a:pt x="115" y="281"/>
                    <a:pt x="117" y="283"/>
                    <a:pt x="119" y="283"/>
                  </a:cubicBezTo>
                  <a:cubicBezTo>
                    <a:pt x="163" y="283"/>
                    <a:pt x="163" y="283"/>
                    <a:pt x="163" y="283"/>
                  </a:cubicBezTo>
                  <a:cubicBezTo>
                    <a:pt x="166" y="283"/>
                    <a:pt x="168" y="281"/>
                    <a:pt x="168" y="279"/>
                  </a:cubicBezTo>
                  <a:cubicBezTo>
                    <a:pt x="168" y="262"/>
                    <a:pt x="168" y="262"/>
                    <a:pt x="168" y="262"/>
                  </a:cubicBezTo>
                  <a:cubicBezTo>
                    <a:pt x="179" y="259"/>
                    <a:pt x="179" y="259"/>
                    <a:pt x="179" y="259"/>
                  </a:cubicBezTo>
                  <a:cubicBezTo>
                    <a:pt x="187" y="273"/>
                    <a:pt x="187" y="273"/>
                    <a:pt x="187" y="273"/>
                  </a:cubicBezTo>
                  <a:cubicBezTo>
                    <a:pt x="188" y="275"/>
                    <a:pt x="191" y="276"/>
                    <a:pt x="193" y="275"/>
                  </a:cubicBezTo>
                  <a:cubicBezTo>
                    <a:pt x="231" y="253"/>
                    <a:pt x="231" y="253"/>
                    <a:pt x="231" y="253"/>
                  </a:cubicBezTo>
                  <a:cubicBezTo>
                    <a:pt x="232" y="252"/>
                    <a:pt x="233" y="251"/>
                    <a:pt x="234" y="250"/>
                  </a:cubicBezTo>
                  <a:cubicBezTo>
                    <a:pt x="234" y="249"/>
                    <a:pt x="234" y="247"/>
                    <a:pt x="233" y="246"/>
                  </a:cubicBezTo>
                  <a:cubicBezTo>
                    <a:pt x="225" y="233"/>
                    <a:pt x="225" y="233"/>
                    <a:pt x="225" y="233"/>
                  </a:cubicBezTo>
                  <a:cubicBezTo>
                    <a:pt x="229" y="229"/>
                    <a:pt x="229" y="229"/>
                    <a:pt x="229" y="229"/>
                  </a:cubicBezTo>
                  <a:cubicBezTo>
                    <a:pt x="229" y="229"/>
                    <a:pt x="229" y="229"/>
                    <a:pt x="229" y="229"/>
                  </a:cubicBezTo>
                  <a:cubicBezTo>
                    <a:pt x="233" y="225"/>
                    <a:pt x="233" y="225"/>
                    <a:pt x="233" y="225"/>
                  </a:cubicBezTo>
                  <a:cubicBezTo>
                    <a:pt x="246" y="233"/>
                    <a:pt x="246" y="233"/>
                    <a:pt x="246" y="233"/>
                  </a:cubicBezTo>
                  <a:cubicBezTo>
                    <a:pt x="248" y="234"/>
                    <a:pt x="249" y="234"/>
                    <a:pt x="250" y="233"/>
                  </a:cubicBezTo>
                  <a:cubicBezTo>
                    <a:pt x="251" y="233"/>
                    <a:pt x="252" y="232"/>
                    <a:pt x="253" y="231"/>
                  </a:cubicBezTo>
                  <a:cubicBezTo>
                    <a:pt x="275" y="193"/>
                    <a:pt x="275" y="193"/>
                    <a:pt x="275" y="193"/>
                  </a:cubicBezTo>
                  <a:cubicBezTo>
                    <a:pt x="277" y="191"/>
                    <a:pt x="276" y="188"/>
                    <a:pt x="274" y="187"/>
                  </a:cubicBezTo>
                  <a:cubicBezTo>
                    <a:pt x="260" y="178"/>
                    <a:pt x="260" y="178"/>
                    <a:pt x="260" y="178"/>
                  </a:cubicBezTo>
                  <a:cubicBezTo>
                    <a:pt x="261" y="174"/>
                    <a:pt x="261" y="174"/>
                    <a:pt x="261" y="174"/>
                  </a:cubicBezTo>
                  <a:cubicBezTo>
                    <a:pt x="261" y="173"/>
                    <a:pt x="261" y="173"/>
                    <a:pt x="261" y="173"/>
                  </a:cubicBezTo>
                  <a:cubicBezTo>
                    <a:pt x="262" y="168"/>
                    <a:pt x="262" y="168"/>
                    <a:pt x="262" y="168"/>
                  </a:cubicBezTo>
                  <a:cubicBezTo>
                    <a:pt x="278" y="168"/>
                    <a:pt x="278" y="168"/>
                    <a:pt x="278" y="168"/>
                  </a:cubicBezTo>
                  <a:cubicBezTo>
                    <a:pt x="281" y="168"/>
                    <a:pt x="283" y="166"/>
                    <a:pt x="283" y="164"/>
                  </a:cubicBezTo>
                  <a:cubicBezTo>
                    <a:pt x="283" y="119"/>
                    <a:pt x="283" y="119"/>
                    <a:pt x="283" y="119"/>
                  </a:cubicBezTo>
                  <a:cubicBezTo>
                    <a:pt x="283" y="117"/>
                    <a:pt x="281" y="115"/>
                    <a:pt x="278" y="115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64"/>
            <p:cNvSpPr>
              <a:spLocks noEditPoints="1"/>
            </p:cNvSpPr>
            <p:nvPr/>
          </p:nvSpPr>
          <p:spPr bwMode="auto">
            <a:xfrm>
              <a:off x="-3238501" y="4470401"/>
              <a:ext cx="215900" cy="255588"/>
            </a:xfrm>
            <a:custGeom>
              <a:avLst/>
              <a:gdLst>
                <a:gd name="T0" fmla="*/ 94 w 165"/>
                <a:gd name="T1" fmla="*/ 19 h 197"/>
                <a:gd name="T2" fmla="*/ 87 w 165"/>
                <a:gd name="T3" fmla="*/ 2 h 197"/>
                <a:gd name="T4" fmla="*/ 84 w 165"/>
                <a:gd name="T5" fmla="*/ 0 h 197"/>
                <a:gd name="T6" fmla="*/ 82 w 165"/>
                <a:gd name="T7" fmla="*/ 0 h 197"/>
                <a:gd name="T8" fmla="*/ 82 w 165"/>
                <a:gd name="T9" fmla="*/ 0 h 197"/>
                <a:gd name="T10" fmla="*/ 78 w 165"/>
                <a:gd name="T11" fmla="*/ 2 h 197"/>
                <a:gd name="T12" fmla="*/ 71 w 165"/>
                <a:gd name="T13" fmla="*/ 19 h 197"/>
                <a:gd name="T14" fmla="*/ 0 w 165"/>
                <a:gd name="T15" fmla="*/ 101 h 197"/>
                <a:gd name="T16" fmla="*/ 23 w 165"/>
                <a:gd name="T17" fmla="*/ 158 h 197"/>
                <a:gd name="T18" fmla="*/ 33 w 165"/>
                <a:gd name="T19" fmla="*/ 174 h 197"/>
                <a:gd name="T20" fmla="*/ 82 w 165"/>
                <a:gd name="T21" fmla="*/ 197 h 197"/>
                <a:gd name="T22" fmla="*/ 82 w 165"/>
                <a:gd name="T23" fmla="*/ 197 h 197"/>
                <a:gd name="T24" fmla="*/ 82 w 165"/>
                <a:gd name="T25" fmla="*/ 197 h 197"/>
                <a:gd name="T26" fmla="*/ 132 w 165"/>
                <a:gd name="T27" fmla="*/ 174 h 197"/>
                <a:gd name="T28" fmla="*/ 142 w 165"/>
                <a:gd name="T29" fmla="*/ 158 h 197"/>
                <a:gd name="T30" fmla="*/ 165 w 165"/>
                <a:gd name="T31" fmla="*/ 101 h 197"/>
                <a:gd name="T32" fmla="*/ 94 w 165"/>
                <a:gd name="T33" fmla="*/ 19 h 197"/>
                <a:gd name="T34" fmla="*/ 9 w 165"/>
                <a:gd name="T35" fmla="*/ 101 h 197"/>
                <a:gd name="T36" fmla="*/ 65 w 165"/>
                <a:gd name="T37" fmla="*/ 29 h 197"/>
                <a:gd name="T38" fmla="*/ 48 w 165"/>
                <a:gd name="T39" fmla="*/ 61 h 197"/>
                <a:gd name="T40" fmla="*/ 19 w 165"/>
                <a:gd name="T41" fmla="*/ 129 h 197"/>
                <a:gd name="T42" fmla="*/ 18 w 165"/>
                <a:gd name="T43" fmla="*/ 136 h 197"/>
                <a:gd name="T44" fmla="*/ 9 w 165"/>
                <a:gd name="T45" fmla="*/ 101 h 197"/>
                <a:gd name="T46" fmla="*/ 125 w 165"/>
                <a:gd name="T47" fmla="*/ 168 h 197"/>
                <a:gd name="T48" fmla="*/ 82 w 165"/>
                <a:gd name="T49" fmla="*/ 187 h 197"/>
                <a:gd name="T50" fmla="*/ 82 w 165"/>
                <a:gd name="T51" fmla="*/ 187 h 197"/>
                <a:gd name="T52" fmla="*/ 82 w 165"/>
                <a:gd name="T53" fmla="*/ 187 h 197"/>
                <a:gd name="T54" fmla="*/ 40 w 165"/>
                <a:gd name="T55" fmla="*/ 168 h 197"/>
                <a:gd name="T56" fmla="*/ 28 w 165"/>
                <a:gd name="T57" fmla="*/ 130 h 197"/>
                <a:gd name="T58" fmla="*/ 56 w 165"/>
                <a:gd name="T59" fmla="*/ 66 h 197"/>
                <a:gd name="T60" fmla="*/ 82 w 165"/>
                <a:gd name="T61" fmla="*/ 16 h 197"/>
                <a:gd name="T62" fmla="*/ 109 w 165"/>
                <a:gd name="T63" fmla="*/ 66 h 197"/>
                <a:gd name="T64" fmla="*/ 137 w 165"/>
                <a:gd name="T65" fmla="*/ 130 h 197"/>
                <a:gd name="T66" fmla="*/ 125 w 165"/>
                <a:gd name="T67" fmla="*/ 168 h 197"/>
                <a:gd name="T68" fmla="*/ 146 w 165"/>
                <a:gd name="T69" fmla="*/ 136 h 197"/>
                <a:gd name="T70" fmla="*/ 146 w 165"/>
                <a:gd name="T71" fmla="*/ 129 h 197"/>
                <a:gd name="T72" fmla="*/ 117 w 165"/>
                <a:gd name="T73" fmla="*/ 61 h 197"/>
                <a:gd name="T74" fmla="*/ 99 w 165"/>
                <a:gd name="T75" fmla="*/ 29 h 197"/>
                <a:gd name="T76" fmla="*/ 156 w 165"/>
                <a:gd name="T77" fmla="*/ 101 h 197"/>
                <a:gd name="T78" fmla="*/ 146 w 165"/>
                <a:gd name="T79" fmla="*/ 13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5" h="197">
                  <a:moveTo>
                    <a:pt x="94" y="19"/>
                  </a:moveTo>
                  <a:cubicBezTo>
                    <a:pt x="91" y="14"/>
                    <a:pt x="89" y="8"/>
                    <a:pt x="87" y="2"/>
                  </a:cubicBezTo>
                  <a:cubicBezTo>
                    <a:pt x="86" y="1"/>
                    <a:pt x="85" y="0"/>
                    <a:pt x="84" y="0"/>
                  </a:cubicBezTo>
                  <a:cubicBezTo>
                    <a:pt x="83" y="0"/>
                    <a:pt x="83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0" y="0"/>
                    <a:pt x="79" y="1"/>
                    <a:pt x="78" y="2"/>
                  </a:cubicBezTo>
                  <a:cubicBezTo>
                    <a:pt x="76" y="8"/>
                    <a:pt x="73" y="14"/>
                    <a:pt x="71" y="19"/>
                  </a:cubicBezTo>
                  <a:cubicBezTo>
                    <a:pt x="30" y="25"/>
                    <a:pt x="0" y="59"/>
                    <a:pt x="0" y="101"/>
                  </a:cubicBezTo>
                  <a:cubicBezTo>
                    <a:pt x="0" y="122"/>
                    <a:pt x="8" y="142"/>
                    <a:pt x="23" y="158"/>
                  </a:cubicBezTo>
                  <a:cubicBezTo>
                    <a:pt x="25" y="164"/>
                    <a:pt x="29" y="169"/>
                    <a:pt x="33" y="174"/>
                  </a:cubicBezTo>
                  <a:cubicBezTo>
                    <a:pt x="45" y="188"/>
                    <a:pt x="64" y="197"/>
                    <a:pt x="82" y="197"/>
                  </a:cubicBezTo>
                  <a:cubicBezTo>
                    <a:pt x="82" y="197"/>
                    <a:pt x="82" y="197"/>
                    <a:pt x="82" y="197"/>
                  </a:cubicBezTo>
                  <a:cubicBezTo>
                    <a:pt x="82" y="197"/>
                    <a:pt x="82" y="197"/>
                    <a:pt x="82" y="197"/>
                  </a:cubicBezTo>
                  <a:cubicBezTo>
                    <a:pt x="101" y="197"/>
                    <a:pt x="119" y="188"/>
                    <a:pt x="132" y="174"/>
                  </a:cubicBezTo>
                  <a:cubicBezTo>
                    <a:pt x="136" y="169"/>
                    <a:pt x="139" y="164"/>
                    <a:pt x="142" y="158"/>
                  </a:cubicBezTo>
                  <a:cubicBezTo>
                    <a:pt x="157" y="142"/>
                    <a:pt x="165" y="122"/>
                    <a:pt x="165" y="101"/>
                  </a:cubicBezTo>
                  <a:cubicBezTo>
                    <a:pt x="165" y="59"/>
                    <a:pt x="135" y="25"/>
                    <a:pt x="94" y="19"/>
                  </a:cubicBezTo>
                  <a:close/>
                  <a:moveTo>
                    <a:pt x="9" y="101"/>
                  </a:moveTo>
                  <a:cubicBezTo>
                    <a:pt x="9" y="66"/>
                    <a:pt x="33" y="37"/>
                    <a:pt x="65" y="29"/>
                  </a:cubicBezTo>
                  <a:cubicBezTo>
                    <a:pt x="59" y="41"/>
                    <a:pt x="53" y="51"/>
                    <a:pt x="48" y="61"/>
                  </a:cubicBezTo>
                  <a:cubicBezTo>
                    <a:pt x="34" y="86"/>
                    <a:pt x="21" y="107"/>
                    <a:pt x="19" y="129"/>
                  </a:cubicBezTo>
                  <a:cubicBezTo>
                    <a:pt x="18" y="131"/>
                    <a:pt x="18" y="134"/>
                    <a:pt x="18" y="136"/>
                  </a:cubicBezTo>
                  <a:cubicBezTo>
                    <a:pt x="12" y="126"/>
                    <a:pt x="9" y="113"/>
                    <a:pt x="9" y="101"/>
                  </a:cubicBezTo>
                  <a:close/>
                  <a:moveTo>
                    <a:pt x="125" y="168"/>
                  </a:moveTo>
                  <a:cubicBezTo>
                    <a:pt x="114" y="180"/>
                    <a:pt x="98" y="187"/>
                    <a:pt x="82" y="187"/>
                  </a:cubicBezTo>
                  <a:cubicBezTo>
                    <a:pt x="82" y="187"/>
                    <a:pt x="82" y="187"/>
                    <a:pt x="82" y="187"/>
                  </a:cubicBezTo>
                  <a:cubicBezTo>
                    <a:pt x="82" y="187"/>
                    <a:pt x="82" y="187"/>
                    <a:pt x="82" y="187"/>
                  </a:cubicBezTo>
                  <a:cubicBezTo>
                    <a:pt x="66" y="187"/>
                    <a:pt x="51" y="180"/>
                    <a:pt x="40" y="168"/>
                  </a:cubicBezTo>
                  <a:cubicBezTo>
                    <a:pt x="30" y="157"/>
                    <a:pt x="26" y="143"/>
                    <a:pt x="28" y="130"/>
                  </a:cubicBezTo>
                  <a:cubicBezTo>
                    <a:pt x="30" y="110"/>
                    <a:pt x="42" y="90"/>
                    <a:pt x="56" y="66"/>
                  </a:cubicBezTo>
                  <a:cubicBezTo>
                    <a:pt x="64" y="51"/>
                    <a:pt x="74" y="34"/>
                    <a:pt x="82" y="16"/>
                  </a:cubicBezTo>
                  <a:cubicBezTo>
                    <a:pt x="91" y="34"/>
                    <a:pt x="100" y="51"/>
                    <a:pt x="109" y="66"/>
                  </a:cubicBezTo>
                  <a:cubicBezTo>
                    <a:pt x="122" y="90"/>
                    <a:pt x="134" y="110"/>
                    <a:pt x="137" y="130"/>
                  </a:cubicBezTo>
                  <a:cubicBezTo>
                    <a:pt x="138" y="143"/>
                    <a:pt x="134" y="157"/>
                    <a:pt x="125" y="168"/>
                  </a:cubicBezTo>
                  <a:close/>
                  <a:moveTo>
                    <a:pt x="146" y="136"/>
                  </a:moveTo>
                  <a:cubicBezTo>
                    <a:pt x="146" y="134"/>
                    <a:pt x="146" y="131"/>
                    <a:pt x="146" y="129"/>
                  </a:cubicBezTo>
                  <a:cubicBezTo>
                    <a:pt x="143" y="107"/>
                    <a:pt x="131" y="86"/>
                    <a:pt x="117" y="61"/>
                  </a:cubicBezTo>
                  <a:cubicBezTo>
                    <a:pt x="111" y="51"/>
                    <a:pt x="105" y="41"/>
                    <a:pt x="99" y="29"/>
                  </a:cubicBezTo>
                  <a:cubicBezTo>
                    <a:pt x="132" y="37"/>
                    <a:pt x="156" y="66"/>
                    <a:pt x="156" y="101"/>
                  </a:cubicBezTo>
                  <a:cubicBezTo>
                    <a:pt x="156" y="113"/>
                    <a:pt x="152" y="126"/>
                    <a:pt x="146" y="13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" name="Прямоугольник 24"/>
          <p:cNvSpPr/>
          <p:nvPr/>
        </p:nvSpPr>
        <p:spPr>
          <a:xfrm>
            <a:off x="290662" y="3056121"/>
            <a:ext cx="5465245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b="1" dirty="0" err="1">
                <a:solidFill>
                  <a:prstClr val="black"/>
                </a:solidFill>
                <a:cs typeface="Times New Roman" panose="02020603050405020304" pitchFamily="18" charset="0"/>
              </a:rPr>
              <a:t>Қолданылатын</a:t>
            </a:r>
            <a:r>
              <a:rPr lang="ru-RU" sz="1600" b="1" dirty="0">
                <a:solidFill>
                  <a:prstClr val="black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cs typeface="Times New Roman" panose="02020603050405020304" pitchFamily="18" charset="0"/>
              </a:rPr>
              <a:t>отын</a:t>
            </a:r>
            <a:r>
              <a:rPr lang="ru-RU" sz="1600" b="1" dirty="0">
                <a:solidFill>
                  <a:prstClr val="black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 err="1" smtClean="0">
                <a:solidFill>
                  <a:prstClr val="black"/>
                </a:solidFill>
                <a:cs typeface="Times New Roman" panose="02020603050405020304" pitchFamily="18" charset="0"/>
              </a:rPr>
              <a:t>түрі</a:t>
            </a:r>
            <a:r>
              <a:rPr lang="ru-RU" sz="1600" b="1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:</a:t>
            </a:r>
            <a:endParaRPr lang="ru-RU" sz="16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dirty="0" err="1">
                <a:solidFill>
                  <a:prstClr val="black"/>
                </a:solidFill>
                <a:cs typeface="Times New Roman" panose="02020603050405020304" pitchFamily="18" charset="0"/>
              </a:rPr>
              <a:t>Негізгі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 </a:t>
            </a:r>
            <a:r>
              <a:rPr lang="ru-RU" sz="1600" dirty="0" err="1" smtClean="0">
                <a:solidFill>
                  <a:prstClr val="black"/>
                </a:solidFill>
                <a:cs typeface="Times New Roman" panose="02020603050405020304" pitchFamily="18" charset="0"/>
              </a:rPr>
              <a:t>отын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 - </a:t>
            </a:r>
            <a:r>
              <a:rPr lang="ru-RU" sz="1600" dirty="0" err="1" smtClean="0">
                <a:solidFill>
                  <a:prstClr val="black"/>
                </a:solidFill>
                <a:cs typeface="Times New Roman" panose="02020603050405020304" pitchFamily="18" charset="0"/>
              </a:rPr>
              <a:t>Екібастұз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cs typeface="Times New Roman" panose="02020603050405020304" pitchFamily="18" charset="0"/>
              </a:rPr>
              <a:t>бассейнінің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cs typeface="Times New Roman" panose="02020603050405020304" pitchFamily="18" charset="0"/>
              </a:rPr>
              <a:t>көмірі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; </a:t>
            </a:r>
            <a:endParaRPr lang="ru-RU" sz="1600" dirty="0" smtClean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dirty="0" err="1" smtClean="0">
                <a:solidFill>
                  <a:prstClr val="black"/>
                </a:solidFill>
                <a:cs typeface="Times New Roman" panose="02020603050405020304" pitchFamily="18" charset="0"/>
              </a:rPr>
              <a:t>Тамызық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 </a:t>
            </a:r>
            <a:r>
              <a:rPr lang="ru-RU" sz="1600" dirty="0" err="1" smtClean="0">
                <a:solidFill>
                  <a:prstClr val="black"/>
                </a:solidFill>
                <a:cs typeface="Times New Roman" panose="02020603050405020304" pitchFamily="18" charset="0"/>
              </a:rPr>
              <a:t>отын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– </a:t>
            </a:r>
            <a:r>
              <a:rPr lang="ru-RU" sz="1600" dirty="0" err="1" smtClean="0">
                <a:solidFill>
                  <a:prstClr val="black"/>
                </a:solidFill>
                <a:cs typeface="Times New Roman" panose="02020603050405020304" pitchFamily="18" charset="0"/>
              </a:rPr>
              <a:t>жанғыш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 мазут М-100.</a:t>
            </a:r>
            <a:endParaRPr lang="ru-RU" sz="1600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grpSp>
        <p:nvGrpSpPr>
          <p:cNvPr id="26" name="Group 481"/>
          <p:cNvGrpSpPr/>
          <p:nvPr/>
        </p:nvGrpSpPr>
        <p:grpSpPr>
          <a:xfrm>
            <a:off x="519060" y="1830170"/>
            <a:ext cx="369888" cy="369888"/>
            <a:chOff x="-1550988" y="2722564"/>
            <a:chExt cx="369888" cy="369888"/>
          </a:xfrm>
        </p:grpSpPr>
        <p:sp>
          <p:nvSpPr>
            <p:cNvPr id="27" name="Freeform 397"/>
            <p:cNvSpPr>
              <a:spLocks noEditPoints="1"/>
            </p:cNvSpPr>
            <p:nvPr/>
          </p:nvSpPr>
          <p:spPr bwMode="auto">
            <a:xfrm>
              <a:off x="-1550988" y="2722564"/>
              <a:ext cx="369888" cy="369888"/>
            </a:xfrm>
            <a:custGeom>
              <a:avLst/>
              <a:gdLst>
                <a:gd name="T0" fmla="*/ 271 w 283"/>
                <a:gd name="T1" fmla="*/ 274 h 283"/>
                <a:gd name="T2" fmla="*/ 266 w 283"/>
                <a:gd name="T3" fmla="*/ 0 h 283"/>
                <a:gd name="T4" fmla="*/ 220 w 283"/>
                <a:gd name="T5" fmla="*/ 5 h 283"/>
                <a:gd name="T6" fmla="*/ 225 w 283"/>
                <a:gd name="T7" fmla="*/ 126 h 283"/>
                <a:gd name="T8" fmla="*/ 230 w 283"/>
                <a:gd name="T9" fmla="*/ 60 h 283"/>
                <a:gd name="T10" fmla="*/ 261 w 283"/>
                <a:gd name="T11" fmla="*/ 274 h 283"/>
                <a:gd name="T12" fmla="*/ 242 w 283"/>
                <a:gd name="T13" fmla="*/ 141 h 283"/>
                <a:gd name="T14" fmla="*/ 236 w 283"/>
                <a:gd name="T15" fmla="*/ 136 h 283"/>
                <a:gd name="T16" fmla="*/ 197 w 283"/>
                <a:gd name="T17" fmla="*/ 30 h 283"/>
                <a:gd name="T18" fmla="*/ 152 w 283"/>
                <a:gd name="T19" fmla="*/ 25 h 283"/>
                <a:gd name="T20" fmla="*/ 147 w 283"/>
                <a:gd name="T21" fmla="*/ 121 h 283"/>
                <a:gd name="T22" fmla="*/ 156 w 283"/>
                <a:gd name="T23" fmla="*/ 121 h 283"/>
                <a:gd name="T24" fmla="*/ 188 w 283"/>
                <a:gd name="T25" fmla="*/ 85 h 283"/>
                <a:gd name="T26" fmla="*/ 169 w 283"/>
                <a:gd name="T27" fmla="*/ 159 h 283"/>
                <a:gd name="T28" fmla="*/ 167 w 283"/>
                <a:gd name="T29" fmla="*/ 137 h 283"/>
                <a:gd name="T30" fmla="*/ 95 w 283"/>
                <a:gd name="T31" fmla="*/ 159 h 283"/>
                <a:gd name="T32" fmla="*/ 93 w 283"/>
                <a:gd name="T33" fmla="*/ 137 h 283"/>
                <a:gd name="T34" fmla="*/ 15 w 283"/>
                <a:gd name="T35" fmla="*/ 162 h 283"/>
                <a:gd name="T36" fmla="*/ 12 w 283"/>
                <a:gd name="T37" fmla="*/ 274 h 283"/>
                <a:gd name="T38" fmla="*/ 0 w 283"/>
                <a:gd name="T39" fmla="*/ 279 h 283"/>
                <a:gd name="T40" fmla="*/ 17 w 283"/>
                <a:gd name="T41" fmla="*/ 283 h 283"/>
                <a:gd name="T42" fmla="*/ 278 w 283"/>
                <a:gd name="T43" fmla="*/ 283 h 283"/>
                <a:gd name="T44" fmla="*/ 278 w 283"/>
                <a:gd name="T45" fmla="*/ 274 h 283"/>
                <a:gd name="T46" fmla="*/ 261 w 283"/>
                <a:gd name="T47" fmla="*/ 25 h 283"/>
                <a:gd name="T48" fmla="*/ 230 w 283"/>
                <a:gd name="T49" fmla="*/ 10 h 283"/>
                <a:gd name="T50" fmla="*/ 230 w 283"/>
                <a:gd name="T51" fmla="*/ 50 h 283"/>
                <a:gd name="T52" fmla="*/ 261 w 283"/>
                <a:gd name="T53" fmla="*/ 35 h 283"/>
                <a:gd name="T54" fmla="*/ 230 w 283"/>
                <a:gd name="T55" fmla="*/ 50 h 283"/>
                <a:gd name="T56" fmla="*/ 188 w 283"/>
                <a:gd name="T57" fmla="*/ 51 h 283"/>
                <a:gd name="T58" fmla="*/ 156 w 283"/>
                <a:gd name="T59" fmla="*/ 35 h 283"/>
                <a:gd name="T60" fmla="*/ 156 w 283"/>
                <a:gd name="T61" fmla="*/ 76 h 283"/>
                <a:gd name="T62" fmla="*/ 188 w 283"/>
                <a:gd name="T63" fmla="*/ 60 h 283"/>
                <a:gd name="T64" fmla="*/ 156 w 283"/>
                <a:gd name="T65" fmla="*/ 76 h 283"/>
                <a:gd name="T66" fmla="*/ 85 w 283"/>
                <a:gd name="T67" fmla="*/ 166 h 283"/>
                <a:gd name="T68" fmla="*/ 92 w 283"/>
                <a:gd name="T69" fmla="*/ 171 h 283"/>
                <a:gd name="T70" fmla="*/ 159 w 283"/>
                <a:gd name="T71" fmla="*/ 166 h 283"/>
                <a:gd name="T72" fmla="*/ 165 w 283"/>
                <a:gd name="T73" fmla="*/ 171 h 283"/>
                <a:gd name="T74" fmla="*/ 233 w 283"/>
                <a:gd name="T75" fmla="*/ 274 h 283"/>
                <a:gd name="T76" fmla="*/ 21 w 283"/>
                <a:gd name="T77" fmla="*/ 260 h 283"/>
                <a:gd name="T78" fmla="*/ 130 w 283"/>
                <a:gd name="T79" fmla="*/ 255 h 283"/>
                <a:gd name="T80" fmla="*/ 21 w 283"/>
                <a:gd name="T81" fmla="*/ 250 h 283"/>
                <a:gd name="T82" fmla="*/ 85 w 283"/>
                <a:gd name="T83" fmla="*/ 14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3" h="283">
                  <a:moveTo>
                    <a:pt x="278" y="274"/>
                  </a:moveTo>
                  <a:cubicBezTo>
                    <a:pt x="271" y="274"/>
                    <a:pt x="271" y="274"/>
                    <a:pt x="271" y="274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71" y="2"/>
                    <a:pt x="269" y="0"/>
                    <a:pt x="26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2" y="0"/>
                    <a:pt x="220" y="2"/>
                    <a:pt x="220" y="5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4"/>
                    <a:pt x="222" y="126"/>
                    <a:pt x="225" y="126"/>
                  </a:cubicBezTo>
                  <a:cubicBezTo>
                    <a:pt x="228" y="126"/>
                    <a:pt x="230" y="124"/>
                    <a:pt x="230" y="121"/>
                  </a:cubicBezTo>
                  <a:cubicBezTo>
                    <a:pt x="230" y="60"/>
                    <a:pt x="230" y="60"/>
                    <a:pt x="230" y="60"/>
                  </a:cubicBezTo>
                  <a:cubicBezTo>
                    <a:pt x="261" y="60"/>
                    <a:pt x="261" y="60"/>
                    <a:pt x="261" y="60"/>
                  </a:cubicBezTo>
                  <a:cubicBezTo>
                    <a:pt x="261" y="274"/>
                    <a:pt x="261" y="274"/>
                    <a:pt x="261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141"/>
                    <a:pt x="242" y="141"/>
                    <a:pt x="242" y="141"/>
                  </a:cubicBezTo>
                  <a:cubicBezTo>
                    <a:pt x="242" y="139"/>
                    <a:pt x="241" y="138"/>
                    <a:pt x="240" y="137"/>
                  </a:cubicBezTo>
                  <a:cubicBezTo>
                    <a:pt x="239" y="136"/>
                    <a:pt x="237" y="136"/>
                    <a:pt x="236" y="136"/>
                  </a:cubicBezTo>
                  <a:cubicBezTo>
                    <a:pt x="197" y="150"/>
                    <a:pt x="197" y="150"/>
                    <a:pt x="197" y="15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8"/>
                    <a:pt x="195" y="25"/>
                    <a:pt x="19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49" y="25"/>
                    <a:pt x="147" y="28"/>
                    <a:pt x="147" y="30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4"/>
                    <a:pt x="149" y="126"/>
                    <a:pt x="152" y="126"/>
                  </a:cubicBezTo>
                  <a:cubicBezTo>
                    <a:pt x="154" y="126"/>
                    <a:pt x="156" y="124"/>
                    <a:pt x="156" y="121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139"/>
                    <a:pt x="168" y="138"/>
                    <a:pt x="167" y="137"/>
                  </a:cubicBezTo>
                  <a:cubicBezTo>
                    <a:pt x="166" y="136"/>
                    <a:pt x="164" y="136"/>
                    <a:pt x="162" y="136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5" y="139"/>
                    <a:pt x="94" y="138"/>
                    <a:pt x="93" y="137"/>
                  </a:cubicBezTo>
                  <a:cubicBezTo>
                    <a:pt x="92" y="136"/>
                    <a:pt x="90" y="136"/>
                    <a:pt x="89" y="136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3" y="162"/>
                    <a:pt x="12" y="164"/>
                    <a:pt x="12" y="166"/>
                  </a:cubicBezTo>
                  <a:cubicBezTo>
                    <a:pt x="12" y="274"/>
                    <a:pt x="12" y="274"/>
                    <a:pt x="12" y="274"/>
                  </a:cubicBezTo>
                  <a:cubicBezTo>
                    <a:pt x="4" y="274"/>
                    <a:pt x="4" y="274"/>
                    <a:pt x="4" y="274"/>
                  </a:cubicBezTo>
                  <a:cubicBezTo>
                    <a:pt x="2" y="274"/>
                    <a:pt x="0" y="276"/>
                    <a:pt x="0" y="279"/>
                  </a:cubicBezTo>
                  <a:cubicBezTo>
                    <a:pt x="0" y="281"/>
                    <a:pt x="2" y="283"/>
                    <a:pt x="4" y="283"/>
                  </a:cubicBezTo>
                  <a:cubicBezTo>
                    <a:pt x="17" y="283"/>
                    <a:pt x="17" y="283"/>
                    <a:pt x="17" y="283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1" y="283"/>
                    <a:pt x="283" y="281"/>
                    <a:pt x="283" y="279"/>
                  </a:cubicBezTo>
                  <a:cubicBezTo>
                    <a:pt x="283" y="276"/>
                    <a:pt x="281" y="274"/>
                    <a:pt x="278" y="274"/>
                  </a:cubicBezTo>
                  <a:close/>
                  <a:moveTo>
                    <a:pt x="261" y="10"/>
                  </a:moveTo>
                  <a:cubicBezTo>
                    <a:pt x="261" y="25"/>
                    <a:pt x="261" y="25"/>
                    <a:pt x="261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10"/>
                    <a:pt x="230" y="10"/>
                    <a:pt x="230" y="10"/>
                  </a:cubicBezTo>
                  <a:lnTo>
                    <a:pt x="261" y="10"/>
                  </a:lnTo>
                  <a:close/>
                  <a:moveTo>
                    <a:pt x="230" y="50"/>
                  </a:moveTo>
                  <a:cubicBezTo>
                    <a:pt x="230" y="35"/>
                    <a:pt x="230" y="35"/>
                    <a:pt x="230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50"/>
                    <a:pt x="261" y="50"/>
                    <a:pt x="261" y="50"/>
                  </a:cubicBezTo>
                  <a:lnTo>
                    <a:pt x="230" y="50"/>
                  </a:lnTo>
                  <a:close/>
                  <a:moveTo>
                    <a:pt x="188" y="35"/>
                  </a:moveTo>
                  <a:cubicBezTo>
                    <a:pt x="188" y="51"/>
                    <a:pt x="188" y="51"/>
                    <a:pt x="188" y="51"/>
                  </a:cubicBezTo>
                  <a:cubicBezTo>
                    <a:pt x="156" y="51"/>
                    <a:pt x="156" y="51"/>
                    <a:pt x="156" y="51"/>
                  </a:cubicBezTo>
                  <a:cubicBezTo>
                    <a:pt x="156" y="35"/>
                    <a:pt x="156" y="35"/>
                    <a:pt x="156" y="35"/>
                  </a:cubicBezTo>
                  <a:lnTo>
                    <a:pt x="188" y="35"/>
                  </a:lnTo>
                  <a:close/>
                  <a:moveTo>
                    <a:pt x="156" y="76"/>
                  </a:moveTo>
                  <a:cubicBezTo>
                    <a:pt x="156" y="60"/>
                    <a:pt x="156" y="60"/>
                    <a:pt x="156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88" y="76"/>
                    <a:pt x="188" y="76"/>
                    <a:pt x="188" y="76"/>
                  </a:cubicBezTo>
                  <a:lnTo>
                    <a:pt x="156" y="76"/>
                  </a:lnTo>
                  <a:close/>
                  <a:moveTo>
                    <a:pt x="85" y="147"/>
                  </a:moveTo>
                  <a:cubicBezTo>
                    <a:pt x="85" y="166"/>
                    <a:pt x="85" y="166"/>
                    <a:pt x="85" y="166"/>
                  </a:cubicBezTo>
                  <a:cubicBezTo>
                    <a:pt x="85" y="168"/>
                    <a:pt x="86" y="169"/>
                    <a:pt x="87" y="170"/>
                  </a:cubicBezTo>
                  <a:cubicBezTo>
                    <a:pt x="89" y="171"/>
                    <a:pt x="90" y="171"/>
                    <a:pt x="92" y="171"/>
                  </a:cubicBezTo>
                  <a:cubicBezTo>
                    <a:pt x="159" y="147"/>
                    <a:pt x="159" y="147"/>
                    <a:pt x="159" y="147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8"/>
                    <a:pt x="160" y="169"/>
                    <a:pt x="161" y="170"/>
                  </a:cubicBezTo>
                  <a:cubicBezTo>
                    <a:pt x="162" y="171"/>
                    <a:pt x="164" y="171"/>
                    <a:pt x="165" y="171"/>
                  </a:cubicBezTo>
                  <a:cubicBezTo>
                    <a:pt x="233" y="147"/>
                    <a:pt x="233" y="147"/>
                    <a:pt x="233" y="147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8" y="260"/>
                    <a:pt x="130" y="257"/>
                    <a:pt x="130" y="255"/>
                  </a:cubicBezTo>
                  <a:cubicBezTo>
                    <a:pt x="130" y="252"/>
                    <a:pt x="128" y="250"/>
                    <a:pt x="126" y="250"/>
                  </a:cubicBezTo>
                  <a:cubicBezTo>
                    <a:pt x="21" y="250"/>
                    <a:pt x="21" y="250"/>
                    <a:pt x="21" y="250"/>
                  </a:cubicBezTo>
                  <a:cubicBezTo>
                    <a:pt x="21" y="169"/>
                    <a:pt x="21" y="169"/>
                    <a:pt x="21" y="169"/>
                  </a:cubicBezTo>
                  <a:lnTo>
                    <a:pt x="85" y="147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98"/>
            <p:cNvSpPr>
              <a:spLocks noEditPoints="1"/>
            </p:cNvSpPr>
            <p:nvPr/>
          </p:nvSpPr>
          <p:spPr bwMode="auto">
            <a:xfrm>
              <a:off x="-1511301" y="2960689"/>
              <a:ext cx="80963" cy="41275"/>
            </a:xfrm>
            <a:custGeom>
              <a:avLst/>
              <a:gdLst>
                <a:gd name="T0" fmla="*/ 5 w 61"/>
                <a:gd name="T1" fmla="*/ 32 h 32"/>
                <a:gd name="T2" fmla="*/ 57 w 61"/>
                <a:gd name="T3" fmla="*/ 32 h 32"/>
                <a:gd name="T4" fmla="*/ 61 w 61"/>
                <a:gd name="T5" fmla="*/ 27 h 32"/>
                <a:gd name="T6" fmla="*/ 61 w 61"/>
                <a:gd name="T7" fmla="*/ 5 h 32"/>
                <a:gd name="T8" fmla="*/ 57 w 61"/>
                <a:gd name="T9" fmla="*/ 0 h 32"/>
                <a:gd name="T10" fmla="*/ 5 w 61"/>
                <a:gd name="T11" fmla="*/ 0 h 32"/>
                <a:gd name="T12" fmla="*/ 0 w 61"/>
                <a:gd name="T13" fmla="*/ 5 h 32"/>
                <a:gd name="T14" fmla="*/ 0 w 61"/>
                <a:gd name="T15" fmla="*/ 27 h 32"/>
                <a:gd name="T16" fmla="*/ 5 w 61"/>
                <a:gd name="T17" fmla="*/ 32 h 32"/>
                <a:gd name="T18" fmla="*/ 10 w 61"/>
                <a:gd name="T19" fmla="*/ 10 h 32"/>
                <a:gd name="T20" fmla="*/ 52 w 61"/>
                <a:gd name="T21" fmla="*/ 10 h 32"/>
                <a:gd name="T22" fmla="*/ 52 w 61"/>
                <a:gd name="T23" fmla="*/ 23 h 32"/>
                <a:gd name="T24" fmla="*/ 10 w 61"/>
                <a:gd name="T25" fmla="*/ 23 h 32"/>
                <a:gd name="T26" fmla="*/ 10 w 61"/>
                <a:gd name="T2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2">
                  <a:moveTo>
                    <a:pt x="5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9" y="32"/>
                    <a:pt x="61" y="30"/>
                    <a:pt x="61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2"/>
                    <a:pt x="59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lose/>
                  <a:moveTo>
                    <a:pt x="10" y="10"/>
                  </a:moveTo>
                  <a:cubicBezTo>
                    <a:pt x="52" y="10"/>
                    <a:pt x="52" y="10"/>
                    <a:pt x="52" y="1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399"/>
            <p:cNvSpPr>
              <a:spLocks noEditPoints="1"/>
            </p:cNvSpPr>
            <p:nvPr/>
          </p:nvSpPr>
          <p:spPr bwMode="auto">
            <a:xfrm>
              <a:off x="-1363663" y="3013076"/>
              <a:ext cx="98425" cy="60325"/>
            </a:xfrm>
            <a:custGeom>
              <a:avLst/>
              <a:gdLst>
                <a:gd name="T0" fmla="*/ 5 w 75"/>
                <a:gd name="T1" fmla="*/ 46 h 46"/>
                <a:gd name="T2" fmla="*/ 10 w 75"/>
                <a:gd name="T3" fmla="*/ 42 h 46"/>
                <a:gd name="T4" fmla="*/ 10 w 75"/>
                <a:gd name="T5" fmla="*/ 41 h 46"/>
                <a:gd name="T6" fmla="*/ 65 w 75"/>
                <a:gd name="T7" fmla="*/ 41 h 46"/>
                <a:gd name="T8" fmla="*/ 65 w 75"/>
                <a:gd name="T9" fmla="*/ 42 h 46"/>
                <a:gd name="T10" fmla="*/ 70 w 75"/>
                <a:gd name="T11" fmla="*/ 46 h 46"/>
                <a:gd name="T12" fmla="*/ 75 w 75"/>
                <a:gd name="T13" fmla="*/ 42 h 46"/>
                <a:gd name="T14" fmla="*/ 75 w 75"/>
                <a:gd name="T15" fmla="*/ 5 h 46"/>
                <a:gd name="T16" fmla="*/ 70 w 75"/>
                <a:gd name="T17" fmla="*/ 0 h 46"/>
                <a:gd name="T18" fmla="*/ 5 w 75"/>
                <a:gd name="T19" fmla="*/ 0 h 46"/>
                <a:gd name="T20" fmla="*/ 0 w 75"/>
                <a:gd name="T21" fmla="*/ 5 h 46"/>
                <a:gd name="T22" fmla="*/ 0 w 75"/>
                <a:gd name="T23" fmla="*/ 42 h 46"/>
                <a:gd name="T24" fmla="*/ 5 w 75"/>
                <a:gd name="T25" fmla="*/ 46 h 46"/>
                <a:gd name="T26" fmla="*/ 10 w 75"/>
                <a:gd name="T27" fmla="*/ 31 h 46"/>
                <a:gd name="T28" fmla="*/ 10 w 75"/>
                <a:gd name="T29" fmla="*/ 26 h 46"/>
                <a:gd name="T30" fmla="*/ 65 w 75"/>
                <a:gd name="T31" fmla="*/ 26 h 46"/>
                <a:gd name="T32" fmla="*/ 65 w 75"/>
                <a:gd name="T33" fmla="*/ 31 h 46"/>
                <a:gd name="T34" fmla="*/ 10 w 75"/>
                <a:gd name="T35" fmla="*/ 31 h 46"/>
                <a:gd name="T36" fmla="*/ 65 w 75"/>
                <a:gd name="T37" fmla="*/ 10 h 46"/>
                <a:gd name="T38" fmla="*/ 65 w 75"/>
                <a:gd name="T39" fmla="*/ 16 h 46"/>
                <a:gd name="T40" fmla="*/ 10 w 75"/>
                <a:gd name="T41" fmla="*/ 16 h 46"/>
                <a:gd name="T42" fmla="*/ 10 w 75"/>
                <a:gd name="T43" fmla="*/ 10 h 46"/>
                <a:gd name="T44" fmla="*/ 65 w 75"/>
                <a:gd name="T45" fmla="*/ 1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46">
                  <a:moveTo>
                    <a:pt x="5" y="46"/>
                  </a:moveTo>
                  <a:cubicBezTo>
                    <a:pt x="8" y="46"/>
                    <a:pt x="10" y="44"/>
                    <a:pt x="10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4"/>
                    <a:pt x="67" y="46"/>
                    <a:pt x="70" y="46"/>
                  </a:cubicBezTo>
                  <a:cubicBezTo>
                    <a:pt x="73" y="46"/>
                    <a:pt x="75" y="44"/>
                    <a:pt x="75" y="4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3" y="46"/>
                    <a:pt x="5" y="46"/>
                  </a:cubicBezTo>
                  <a:close/>
                  <a:moveTo>
                    <a:pt x="10" y="31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10" y="31"/>
                  </a:lnTo>
                  <a:close/>
                  <a:moveTo>
                    <a:pt x="65" y="10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65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46258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0293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76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 smtClean="0">
                <a:solidFill>
                  <a:schemeClr val="accent1"/>
                </a:solidFill>
              </a:rPr>
              <a:t>ЕЭК: </a:t>
            </a:r>
            <a:r>
              <a:rPr lang="ru-RU" dirty="0"/>
              <a:t>2025 </a:t>
            </a:r>
            <a:r>
              <a:rPr lang="ru-RU" dirty="0" err="1"/>
              <a:t>жылдың</a:t>
            </a:r>
            <a:r>
              <a:rPr lang="ru-RU" dirty="0"/>
              <a:t> </a:t>
            </a:r>
            <a:r>
              <a:rPr lang="ru-RU" dirty="0" err="1"/>
              <a:t>қорытындысы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2025 </a:t>
            </a:r>
            <a:r>
              <a:rPr lang="ru-RU" dirty="0" err="1"/>
              <a:t>жылға</a:t>
            </a:r>
            <a:r>
              <a:rPr lang="ru-RU" dirty="0"/>
              <a:t> </a:t>
            </a:r>
            <a:r>
              <a:rPr lang="ru-RU" dirty="0" err="1"/>
              <a:t>бекітілген</a:t>
            </a:r>
            <a:r>
              <a:rPr lang="ru-RU" dirty="0"/>
              <a:t> </a:t>
            </a:r>
            <a:r>
              <a:rPr lang="ru-RU" dirty="0" err="1"/>
              <a:t>инвестициялық</a:t>
            </a:r>
            <a:r>
              <a:rPr lang="ru-RU" dirty="0"/>
              <a:t> </a:t>
            </a:r>
            <a:r>
              <a:rPr lang="ru-RU" dirty="0" err="1"/>
              <a:t>бағдарламаның</a:t>
            </a:r>
            <a:r>
              <a:rPr lang="ru-RU" dirty="0"/>
              <a:t> </a:t>
            </a:r>
            <a:r>
              <a:rPr lang="ru-RU" dirty="0" err="1"/>
              <a:t>орындалуы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ru-RU" b="0" dirty="0">
              <a:solidFill>
                <a:schemeClr val="accent1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3474897"/>
              </p:ext>
            </p:extLst>
          </p:nvPr>
        </p:nvGraphicFramePr>
        <p:xfrm>
          <a:off x="63374" y="923452"/>
          <a:ext cx="12041111" cy="5979534"/>
        </p:xfrm>
        <a:graphic>
          <a:graphicData uri="http://schemas.openxmlformats.org/drawingml/2006/table">
            <a:tbl>
              <a:tblPr/>
              <a:tblGrid>
                <a:gridCol w="202097"/>
                <a:gridCol w="839970"/>
                <a:gridCol w="1274656"/>
                <a:gridCol w="390620"/>
                <a:gridCol w="411180"/>
                <a:gridCol w="442017"/>
                <a:gridCol w="462576"/>
                <a:gridCol w="555092"/>
                <a:gridCol w="516519"/>
                <a:gridCol w="511124"/>
                <a:gridCol w="495601"/>
                <a:gridCol w="656006"/>
                <a:gridCol w="596210"/>
                <a:gridCol w="318664"/>
                <a:gridCol w="339223"/>
                <a:gridCol w="318664"/>
                <a:gridCol w="328943"/>
                <a:gridCol w="267267"/>
                <a:gridCol w="308384"/>
                <a:gridCol w="328944"/>
                <a:gridCol w="246707"/>
                <a:gridCol w="277546"/>
                <a:gridCol w="267266"/>
                <a:gridCol w="267267"/>
                <a:gridCol w="503695"/>
                <a:gridCol w="914873"/>
              </a:tblGrid>
              <a:tr h="458221">
                <a:tc rowSpan="3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№ р/с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Реттеліп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өрсетілеті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қызметтерді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ұсынуд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оспарл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ақт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өлемі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урал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қпарат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айда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мен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залал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урал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есеп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*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ғдарламан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омасы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ғдарламан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қаржыландыруд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ақт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шарттар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мен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мөлшері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урал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қпарат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м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еңге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ғдарламан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рындауд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ақт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өрсеткіштері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ғдарламада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екітілге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өрсеткіштерме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алыстыру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урал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қпарат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**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екітілге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ғдарламада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қол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еткізілге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ақт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өрсеткіштерді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өрсеткіштерде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уытқу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ебептері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үсіндіру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өрсетілеті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реттеліп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өрсетілеті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қызметтерді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апас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мен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енімділігі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қызметті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иімділігі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рттыруд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ғалау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155170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Реттелеті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қызметтерді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тау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қызмет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өрсетілеті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умақ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Іс-шаралард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тауы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Өлшем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ірлігі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абиғи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өрсеткіштердегі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саны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ғдарлама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шеңберінде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қызмет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өрсету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езеңі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оспар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Дерек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уытқу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уытқу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ебептері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Меншікті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қаражат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м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еңге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Қарыз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қаражаты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юджет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қаражаты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ru-RU" sz="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кітілген</a:t>
                      </a:r>
                      <a:r>
                        <a:rPr lang="ru-RU" sz="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вестициялық</a:t>
                      </a:r>
                      <a:r>
                        <a:rPr lang="ru-RU" sz="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ғдарламаға</a:t>
                      </a:r>
                      <a:r>
                        <a:rPr lang="ru-RU" sz="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йланысты</a:t>
                      </a:r>
                      <a:r>
                        <a:rPr lang="ru-RU" sz="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ске</a:t>
                      </a:r>
                      <a:r>
                        <a:rPr lang="ru-RU" sz="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сыру</a:t>
                      </a:r>
                      <a:r>
                        <a:rPr lang="ru-RU" sz="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ылдары</a:t>
                      </a:r>
                      <a:r>
                        <a:rPr lang="ru-RU" sz="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ойынша</a:t>
                      </a:r>
                      <a:r>
                        <a:rPr lang="ru-RU" sz="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өндірістік</a:t>
                      </a:r>
                      <a:r>
                        <a:rPr lang="ru-RU" sz="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өрсеткіштерді</a:t>
                      </a:r>
                      <a:r>
                        <a:rPr lang="ru-RU" sz="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6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ақсарту</a:t>
                      </a:r>
                      <a:r>
                        <a:rPr lang="ru-RU" sz="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% </a:t>
                      </a:r>
                      <a:endParaRPr lang="ru-RU" sz="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екітілге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ғдарламаға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йланыст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іске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сыру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ылдар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ойынша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егізгі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қорлард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ктивтерді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)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озуы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изикалық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)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өмендету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% 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екітілге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ғдарламаға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йланыст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іске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сыру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ылдар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ойынша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шығындард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зайту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% 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екітілге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ғдарламаға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йланыст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іске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сыру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ылдар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ойынша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паттылықт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өмендету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9749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k-KZ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оспар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Дерек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мортизация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айда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Өтке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ылд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дерегі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ғымдағ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ылд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дерегі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Өтке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ылд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дерегі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ғымдағ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ылд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дерегі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k-KZ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оспар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k-KZ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Дерек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Өтке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ылд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дерегі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ғымдағ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ылд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дерегі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75888"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1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3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6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7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8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9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1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3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4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5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6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439946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у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нергиясын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ндіру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2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локтардың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гізгі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әне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ең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оғары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азандықтарын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үрделі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өндеу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k-KZ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ана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5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4 234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461,60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 </a:t>
                      </a:r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84,75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</a:t>
                      </a:r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3,15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МҚ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жұмыс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өлемін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,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құнын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ұлғайт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 810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екітілген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нвестициялық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ағдарламамен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елгіленбеген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екітілген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нвестициялық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ағдарламамен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елгіленбеге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10%</a:t>
                      </a:r>
                      <a:endParaRPr lang="ru-RU" sz="8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екітілген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нвестициялық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ағдарламамен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елгіленбеге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i="0" u="none" strike="noStrike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i="0" u="none" strike="noStrike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i="0" u="none" strike="noStrike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endParaRPr lang="ru-RU" sz="800" b="0" i="0" u="none" strike="noStrike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ru-RU" sz="8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уытқулар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жоқ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рындалған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ұмыстар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Электр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анциясының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гізгі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ұралдарын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ұмыс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үйінде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ұстауға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ғытталған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ұл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ұтынушыларға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үздіксіз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ылу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руді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амтамасыз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етуге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үмкіндік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реді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3620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4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локтардың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гізгі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әне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ең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оғары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азандықтарын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үрделі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өндеу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k-KZ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ана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8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just" fontAlgn="ctr"/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r" defTabSz="5831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59,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583170" rtl="0" eaLnBrk="1" fontAlgn="ctr" latinLnBrk="0" hangingPunct="1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 </a:t>
                      </a:r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7,49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583170" rtl="0" eaLnBrk="1" fontAlgn="ctr" latinLnBrk="0" hangingPunct="1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</a:t>
                      </a:r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8,09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-24%</a:t>
                      </a:r>
                      <a:endParaRPr lang="ru-RU" sz="8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5203"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Н-3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рғы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йлау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ұбырларын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әне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кіту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рматурасын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үрделі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өндеу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k-KZ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ана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just" fontAlgn="ctr"/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r" defTabSz="5831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12,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5831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751,25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583170" rtl="0" eaLnBrk="1" fontAlgn="ctr" latinLnBrk="0" hangingPunct="1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38,95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2,7%</a:t>
                      </a:r>
                      <a:endParaRPr lang="ru-RU" sz="8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17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5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елілік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рғыны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үрделі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өндеу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СН-5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рғы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йлау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ұбырларын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әне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кіту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рматурасын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үрделі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өндеу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kk-KZ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ана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just" fontAlgn="ctr"/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</a:t>
                      </a:r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141,00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</a:t>
                      </a:r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</a:t>
                      </a:r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37,26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</a:t>
                      </a:r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6,26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37%</a:t>
                      </a:r>
                      <a:endParaRPr lang="ru-RU" sz="8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61208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34175"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6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елілік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рғыны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үрделі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өндеу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k-KZ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ана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just" fontAlgn="ctr"/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028,70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 </a:t>
                      </a:r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86,02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 </a:t>
                      </a:r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57,32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30.2%</a:t>
                      </a:r>
                      <a:endParaRPr lang="ru-RU" sz="8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3170">
                <a:tc>
                  <a:txBody>
                    <a:bodyPr/>
                    <a:lstStyle/>
                    <a:p>
                      <a:pPr algn="l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k-KZ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ЛП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94 234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26 803,0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 776,8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 973,8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-</a:t>
                      </a:r>
                    </a:p>
                    <a:p>
                      <a:pPr algn="l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13 81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 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 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 -</a:t>
                      </a: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 -</a:t>
                      </a: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1539089" y="6373640"/>
          <a:ext cx="208280" cy="266383"/>
        </p:xfrm>
        <a:graphic>
          <a:graphicData uri="http://schemas.openxmlformats.org/drawingml/2006/table">
            <a:tbl>
              <a:tblPr/>
              <a:tblGrid>
                <a:gridCol w="208280"/>
              </a:tblGrid>
              <a:tr h="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7817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8251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27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>
                <a:solidFill>
                  <a:schemeClr val="accent1"/>
                </a:solidFill>
              </a:rPr>
              <a:t>ЕЭК: </a:t>
            </a:r>
            <a:r>
              <a:rPr lang="ru-RU" dirty="0"/>
              <a:t>2025 </a:t>
            </a:r>
            <a:r>
              <a:rPr lang="ru-RU" dirty="0" err="1"/>
              <a:t>жылғы</a:t>
            </a:r>
            <a:r>
              <a:rPr lang="ru-RU" dirty="0"/>
              <a:t> </a:t>
            </a:r>
            <a:r>
              <a:rPr lang="ru-RU" dirty="0" err="1"/>
              <a:t>жылу</a:t>
            </a:r>
            <a:r>
              <a:rPr lang="ru-RU" dirty="0"/>
              <a:t> </a:t>
            </a:r>
            <a:r>
              <a:rPr lang="ru-RU" dirty="0" err="1"/>
              <a:t>энергиясын</a:t>
            </a:r>
            <a:r>
              <a:rPr lang="ru-RU" dirty="0"/>
              <a:t> </a:t>
            </a:r>
            <a:r>
              <a:rPr lang="ru-RU" dirty="0" err="1"/>
              <a:t>өндіру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бекітілген</a:t>
            </a:r>
            <a:r>
              <a:rPr lang="ru-RU" dirty="0"/>
              <a:t> </a:t>
            </a:r>
            <a:r>
              <a:rPr lang="ru-RU" dirty="0" err="1"/>
              <a:t>тарифтік</a:t>
            </a:r>
            <a:r>
              <a:rPr lang="ru-RU" dirty="0"/>
              <a:t> </a:t>
            </a:r>
            <a:r>
              <a:rPr lang="ru-RU" dirty="0" err="1"/>
              <a:t>сметаның</a:t>
            </a:r>
            <a:r>
              <a:rPr lang="ru-RU" dirty="0"/>
              <a:t> </a:t>
            </a:r>
            <a:r>
              <a:rPr lang="ru-RU" dirty="0" err="1"/>
              <a:t>бап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орындалуы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ru-RU" b="0" dirty="0">
              <a:solidFill>
                <a:schemeClr val="accent1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1656087"/>
              </p:ext>
            </p:extLst>
          </p:nvPr>
        </p:nvGraphicFramePr>
        <p:xfrm>
          <a:off x="427091" y="901897"/>
          <a:ext cx="11170398" cy="4968818"/>
        </p:xfrm>
        <a:graphic>
          <a:graphicData uri="http://schemas.openxmlformats.org/drawingml/2006/table">
            <a:tbl>
              <a:tblPr/>
              <a:tblGrid>
                <a:gridCol w="34965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16598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9641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4702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08154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27587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3702186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64822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№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арифтік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смета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көрсеткіштерінің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тауы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Өлшем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бірлігі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ru-RU" sz="9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Тарифтік</a:t>
                      </a:r>
                      <a:r>
                        <a:rPr lang="ru-RU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метада</a:t>
                      </a:r>
                      <a:r>
                        <a:rPr lang="ru-RU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өзделген</a:t>
                      </a:r>
                      <a:r>
                        <a:rPr lang="ru-RU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(27.11.2025 </a:t>
                      </a:r>
                      <a:r>
                        <a:rPr lang="ru-RU" sz="9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ылғы</a:t>
                      </a:r>
                      <a:r>
                        <a:rPr lang="ru-RU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№ 105-НҚ </a:t>
                      </a:r>
                      <a:r>
                        <a:rPr lang="ru-RU" sz="9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ұйрығы</a:t>
                      </a:r>
                      <a:r>
                        <a:rPr lang="ru-RU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)</a:t>
                      </a:r>
                      <a:endParaRPr lang="ru-RU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ru-RU" sz="9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Тарифтік</a:t>
                      </a:r>
                      <a:r>
                        <a:rPr lang="ru-RU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метаның</a:t>
                      </a:r>
                      <a:r>
                        <a:rPr lang="ru-RU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нақты</a:t>
                      </a:r>
                      <a:r>
                        <a:rPr lang="ru-RU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қалыптасқан</a:t>
                      </a:r>
                      <a:r>
                        <a:rPr lang="ru-RU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өрсеткіштері</a:t>
                      </a:r>
                      <a:endParaRPr lang="ru-RU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уытқулар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, %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уытқу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ебептері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5656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I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ауарларды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өндіруге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және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қызмет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көрсетуге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рналған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шығындар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,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барлығ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ең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4 45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66 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902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63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8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атериалдық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шығындар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,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барлығ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ең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1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7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79 714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92                                  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7166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.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шикізат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және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атериалдар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0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88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92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Шикізат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пен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материалдар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ағасын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өсуі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2072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.2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жанармай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1 17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78 82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91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өмір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өндіруді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өзіндік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құны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, ТЖ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тарифі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ұлғайту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975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Еңбекақы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өлеу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шығындары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,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барлығ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ең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 80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9072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                              138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900" b="0" i="0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78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н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ішінде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: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2260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өндірістік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жұмысшылард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еңбекақыс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 29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743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26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Өсім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2025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ыл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рташ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айлық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алақын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өсуіне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айланыст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олды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9758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2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әлеуметтік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алық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және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індетті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ақтандыру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0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8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27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Нақт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шығындар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нормативте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аспайты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нақт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сан мен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заңнам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талаптарын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әйкес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мөлшерлемелер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негізінде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қалыптасты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739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3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індетті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кәсіби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ударымдар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зейнетақы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жарналар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74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59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Өсім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алақын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өсуіне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айланыст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олды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319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4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індетті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едициналық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ақтандыруға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ударымдар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8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0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46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Өсім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2022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ылғ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1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қаңтарда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астап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МӘМС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мөлшерлемесіні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өсуі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есебіне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ры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алд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.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3152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мортизац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ең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3 81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70 019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                                 </a:t>
                      </a:r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07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Ұлғаю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бъектілерді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үрделі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өндеуде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ейі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пайдалануғ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беру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есебіне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олды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16390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k-KZ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Жөндеу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ең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 </a:t>
                      </a: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77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accent5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7 183</a:t>
                      </a:r>
                      <a:endParaRPr lang="ru-RU" sz="900" b="1" i="0" u="none" strike="noStrike" dirty="0">
                        <a:solidFill>
                          <a:schemeClr val="accent5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Өсім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материалдар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,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өлшектер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,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қызметтер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ағасын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өсуіне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айланысты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78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Басқа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шығындар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81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914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7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3547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.1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Жерді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жалға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лу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(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жер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ресурстарын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айдаланғаны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үшін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өлем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)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33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Өсім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2024-2025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ылдар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аң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ер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часкелері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алғ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алуғ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айланыст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ер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часкелері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алғ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алуд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аң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шарттары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асасуме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айланысты</a:t>
                      </a:r>
                      <a:endParaRPr lang="ru-RU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16608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2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у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қысы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су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есурстарын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айдалану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қысы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Өсім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АЕК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өсімі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есебінен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болды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843539419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3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лық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өлемдері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мен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лымдар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Мүлік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алығының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өсуі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ғимараттар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мен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құрылыстарды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күрделі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жөндеудің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құнын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капиталдандыру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есебінен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болды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9221363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0059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7321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354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ЕЭК: 2025 </a:t>
            </a:r>
            <a:r>
              <a:rPr lang="ru-RU" dirty="0" err="1"/>
              <a:t>жылғы</a:t>
            </a:r>
            <a:r>
              <a:rPr lang="ru-RU" dirty="0"/>
              <a:t> </a:t>
            </a:r>
            <a:r>
              <a:rPr lang="ru-RU" dirty="0" err="1"/>
              <a:t>жылу</a:t>
            </a:r>
            <a:r>
              <a:rPr lang="ru-RU" dirty="0"/>
              <a:t> </a:t>
            </a:r>
            <a:r>
              <a:rPr lang="ru-RU" dirty="0" err="1"/>
              <a:t>энергиясын</a:t>
            </a:r>
            <a:r>
              <a:rPr lang="ru-RU" dirty="0"/>
              <a:t> </a:t>
            </a:r>
            <a:r>
              <a:rPr lang="ru-RU" dirty="0" err="1"/>
              <a:t>өндіру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бекітілген</a:t>
            </a:r>
            <a:r>
              <a:rPr lang="ru-RU" dirty="0"/>
              <a:t> </a:t>
            </a:r>
            <a:r>
              <a:rPr lang="ru-RU" dirty="0" err="1"/>
              <a:t>тарифтік</a:t>
            </a:r>
            <a:r>
              <a:rPr lang="ru-RU" dirty="0"/>
              <a:t> </a:t>
            </a:r>
            <a:r>
              <a:rPr lang="ru-RU" dirty="0" err="1"/>
              <a:t>сметаның</a:t>
            </a:r>
            <a:r>
              <a:rPr lang="ru-RU" dirty="0"/>
              <a:t> </a:t>
            </a:r>
            <a:r>
              <a:rPr lang="ru-RU" dirty="0" err="1"/>
              <a:t>бап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орындалуы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есеп</a:t>
            </a:r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3841609"/>
              </p:ext>
            </p:extLst>
          </p:nvPr>
        </p:nvGraphicFramePr>
        <p:xfrm>
          <a:off x="248355" y="1783849"/>
          <a:ext cx="11535611" cy="3157136"/>
        </p:xfrm>
        <a:graphic>
          <a:graphicData uri="http://schemas.openxmlformats.org/drawingml/2006/table">
            <a:tbl>
              <a:tblPr/>
              <a:tblGrid>
                <a:gridCol w="34549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99883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144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7483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17755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3865087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26111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I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езең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ығыстары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рлығ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28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562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6111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лпы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әкімшілік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ығыстар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рлығ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27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22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9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137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1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әкімшілік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соналд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лақыс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7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9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Шығындард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өсуі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алақын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өсуіне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айланыст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олд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6111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2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әлеуметтік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лық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әлеуметтік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ударымдар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5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956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3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індетті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дициналық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қтандыруға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ударымдар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589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110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4.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Үшінші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арап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ұйымдарының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тері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ң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</a:t>
                      </a: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49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endParaRPr lang="ru-RU" sz="900" b="0" i="0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2915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4.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СП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ұсыну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тер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41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40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Шығындард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өсуі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ЭСП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қызметтеріні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құны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ұлғайту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есебіне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олды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2915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4.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ғдарламан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хникалық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раптамасы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тер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ңге</a:t>
                      </a:r>
                      <a:endParaRPr lang="ru-RU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Ауытқулар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оқ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15728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Іске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сыру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ойынша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ығыстар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4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69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Шығындард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өсуі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персонл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анын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артуын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айланыст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олды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26371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II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рсетуге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рналған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рлық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ығындар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8 73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4 464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5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22074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V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абыс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РБА*СП)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мың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теңге</a:t>
                      </a:r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993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26111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айда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ығын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 94 23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1"/>
                  </a:ext>
                </a:extLst>
              </a:tr>
              <a:tr h="1673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іріс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рлығ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731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22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 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2"/>
                  </a:ext>
                </a:extLst>
              </a:tr>
            </a:tbl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3654102"/>
              </p:ext>
            </p:extLst>
          </p:nvPr>
        </p:nvGraphicFramePr>
        <p:xfrm>
          <a:off x="247224" y="1077910"/>
          <a:ext cx="11544300" cy="688064"/>
        </p:xfrm>
        <a:graphic>
          <a:graphicData uri="http://schemas.openxmlformats.org/drawingml/2006/table">
            <a:tbl>
              <a:tblPr/>
              <a:tblGrid>
                <a:gridCol w="354180">
                  <a:extLst>
                    <a:ext uri="{9D8B030D-6E8A-4147-A177-3AD203B41FA5}">
                      <a16:colId xmlns="" xmlns:a16="http://schemas.microsoft.com/office/drawing/2014/main" val="3873928305"/>
                    </a:ext>
                  </a:extLst>
                </a:gridCol>
                <a:gridCol w="2989007">
                  <a:extLst>
                    <a:ext uri="{9D8B030D-6E8A-4147-A177-3AD203B41FA5}">
                      <a16:colId xmlns="" xmlns:a16="http://schemas.microsoft.com/office/drawing/2014/main" val="693392545"/>
                    </a:ext>
                  </a:extLst>
                </a:gridCol>
                <a:gridCol w="924232">
                  <a:extLst>
                    <a:ext uri="{9D8B030D-6E8A-4147-A177-3AD203B41FA5}">
                      <a16:colId xmlns="" xmlns:a16="http://schemas.microsoft.com/office/drawing/2014/main" val="3514993770"/>
                    </a:ext>
                  </a:extLst>
                </a:gridCol>
                <a:gridCol w="1465007">
                  <a:extLst>
                    <a:ext uri="{9D8B030D-6E8A-4147-A177-3AD203B41FA5}">
                      <a16:colId xmlns="" xmlns:a16="http://schemas.microsoft.com/office/drawing/2014/main" val="3660104766"/>
                    </a:ext>
                  </a:extLst>
                </a:gridCol>
                <a:gridCol w="1236986">
                  <a:extLst>
                    <a:ext uri="{9D8B030D-6E8A-4147-A177-3AD203B41FA5}">
                      <a16:colId xmlns="" xmlns:a16="http://schemas.microsoft.com/office/drawing/2014/main" val="840944139"/>
                    </a:ext>
                  </a:extLst>
                </a:gridCol>
                <a:gridCol w="700982">
                  <a:extLst>
                    <a:ext uri="{9D8B030D-6E8A-4147-A177-3AD203B41FA5}">
                      <a16:colId xmlns="" xmlns:a16="http://schemas.microsoft.com/office/drawing/2014/main" val="3001708712"/>
                    </a:ext>
                  </a:extLst>
                </a:gridCol>
                <a:gridCol w="3873906">
                  <a:extLst>
                    <a:ext uri="{9D8B030D-6E8A-4147-A177-3AD203B41FA5}">
                      <a16:colId xmlns="" xmlns:a16="http://schemas.microsoft.com/office/drawing/2014/main" val="1747598430"/>
                    </a:ext>
                  </a:extLst>
                </a:gridCol>
              </a:tblGrid>
              <a:tr h="68806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№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арифтік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смета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көрсеткіштерінің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тауы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Өлшем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бірлігі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арифтік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метада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көзделген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(04.11.2024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жылғы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№ 85-НҚ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бұйрығы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)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арифтік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метаның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нақты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қалыптасқан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көрсеткіштері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уытқулар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, %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уытқу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ебептері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796363508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8283973"/>
              </p:ext>
            </p:extLst>
          </p:nvPr>
        </p:nvGraphicFramePr>
        <p:xfrm>
          <a:off x="239668" y="5064751"/>
          <a:ext cx="11539378" cy="1299545"/>
        </p:xfrm>
        <a:graphic>
          <a:graphicData uri="http://schemas.openxmlformats.org/drawingml/2006/table">
            <a:tbl>
              <a:tblPr/>
              <a:tblGrid>
                <a:gridCol w="34391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00476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1409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8034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216705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1499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3864562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35737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I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рсетілетін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тердің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лемі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кал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,823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05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өлемні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төмендеуі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ылу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энергиясы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тұтынушылард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ұранысын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төмендеуіне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айланыст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олды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45948">
                <a:tc rowSpan="2"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II</a:t>
                      </a:r>
                    </a:p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рташа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тариф (ҚҚС-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ыз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ңге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/Гка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65,0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63,2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78766">
                <a:tc vMerge="1"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ариф (ҚҚС-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ыз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 2025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ылғы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31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елтоқсанға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ейін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08,6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08,6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174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нықтама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қты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ұн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ңге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/Гка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51,7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8550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1157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49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 smtClean="0">
                <a:solidFill>
                  <a:schemeClr val="accent1"/>
                </a:solidFill>
              </a:rPr>
              <a:t>ЕЭК: </a:t>
            </a:r>
            <a:r>
              <a:rPr lang="ru-RU" dirty="0" err="1"/>
              <a:t>Реттелетін</a:t>
            </a:r>
            <a:r>
              <a:rPr lang="ru-RU" dirty="0"/>
              <a:t> </a:t>
            </a:r>
            <a:r>
              <a:rPr lang="ru-RU" dirty="0" err="1"/>
              <a:t>қызметтердің</a:t>
            </a:r>
            <a:r>
              <a:rPr lang="ru-RU" dirty="0"/>
              <a:t> </a:t>
            </a:r>
            <a:r>
              <a:rPr lang="ru-RU" dirty="0" err="1"/>
              <a:t>сапасы</a:t>
            </a:r>
            <a:r>
              <a:rPr lang="ru-RU" dirty="0"/>
              <a:t> мен </a:t>
            </a:r>
            <a:r>
              <a:rPr lang="ru-RU" dirty="0" err="1"/>
              <a:t>сенімділігі</a:t>
            </a:r>
            <a:r>
              <a:rPr lang="ru-RU" dirty="0"/>
              <a:t> </a:t>
            </a:r>
            <a:r>
              <a:rPr lang="ru-RU" dirty="0" err="1"/>
              <a:t>көрсеткіштерінің</a:t>
            </a:r>
            <a:r>
              <a:rPr lang="ru-RU" dirty="0"/>
              <a:t> </a:t>
            </a:r>
            <a:r>
              <a:rPr lang="ru-RU" dirty="0" err="1"/>
              <a:t>сақталуы</a:t>
            </a:r>
            <a:r>
              <a:rPr lang="ru-RU" dirty="0"/>
              <a:t> </a:t>
            </a:r>
            <a:r>
              <a:rPr lang="ru-RU" dirty="0" err="1"/>
              <a:t>және</a:t>
            </a:r>
            <a:r>
              <a:rPr lang="ru-RU" dirty="0"/>
              <a:t> 2025 </a:t>
            </a:r>
            <a:r>
              <a:rPr lang="ru-RU" dirty="0" err="1"/>
              <a:t>жылғы</a:t>
            </a:r>
            <a:r>
              <a:rPr lang="ru-RU" dirty="0"/>
              <a:t> </a:t>
            </a:r>
            <a:r>
              <a:rPr lang="ru-RU" dirty="0" err="1"/>
              <a:t>қызмет</a:t>
            </a:r>
            <a:r>
              <a:rPr lang="ru-RU" dirty="0"/>
              <a:t> </a:t>
            </a:r>
            <a:r>
              <a:rPr lang="ru-RU" dirty="0" err="1"/>
              <a:t>тиімділігінің</a:t>
            </a:r>
            <a:r>
              <a:rPr lang="ru-RU" dirty="0"/>
              <a:t> </a:t>
            </a:r>
            <a:r>
              <a:rPr lang="ru-RU" dirty="0" err="1"/>
              <a:t>көрсеткіштеріне</a:t>
            </a:r>
            <a:r>
              <a:rPr lang="ru-RU" dirty="0"/>
              <a:t> </a:t>
            </a:r>
            <a:r>
              <a:rPr lang="ru-RU" dirty="0" err="1"/>
              <a:t>қол</a:t>
            </a:r>
            <a:r>
              <a:rPr lang="ru-RU" dirty="0"/>
              <a:t> </a:t>
            </a:r>
            <a:r>
              <a:rPr lang="ru-RU" dirty="0" err="1"/>
              <a:t>жеткізу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17499" y="834732"/>
            <a:ext cx="112928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539750" algn="just"/>
            <a:r>
              <a:rPr lang="ru-RU" sz="1600" dirty="0" smtClean="0">
                <a:solidFill>
                  <a:prstClr val="black"/>
                </a:solidFill>
              </a:rPr>
              <a:t>«ЕЭК» </a:t>
            </a:r>
            <a:r>
              <a:rPr lang="ru-RU" sz="1600" dirty="0">
                <a:solidFill>
                  <a:prstClr val="black"/>
                </a:solidFill>
              </a:rPr>
              <a:t>АҚ </a:t>
            </a:r>
            <a:r>
              <a:rPr lang="ru-RU" sz="1600" dirty="0" err="1">
                <a:solidFill>
                  <a:prstClr val="black"/>
                </a:solidFill>
              </a:rPr>
              <a:t>үшін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реттелетін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қызметтердің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сапасы</a:t>
            </a:r>
            <a:r>
              <a:rPr lang="ru-RU" sz="1600" dirty="0">
                <a:solidFill>
                  <a:prstClr val="black"/>
                </a:solidFill>
              </a:rPr>
              <a:t> мен </a:t>
            </a:r>
            <a:r>
              <a:rPr lang="ru-RU" sz="1600" dirty="0" err="1">
                <a:solidFill>
                  <a:prstClr val="black"/>
                </a:solidFill>
              </a:rPr>
              <a:t>сенімділігі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көрсеткіштері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және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қызмет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тиімділігінің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көрсеткіштері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b="1" dirty="0" err="1">
                <a:solidFill>
                  <a:prstClr val="black"/>
                </a:solidFill>
              </a:rPr>
              <a:t>әзірленбеген</a:t>
            </a:r>
            <a:r>
              <a:rPr lang="ru-RU" sz="1600" b="1" dirty="0">
                <a:solidFill>
                  <a:prstClr val="black"/>
                </a:solidFill>
              </a:rPr>
              <a:t> </a:t>
            </a:r>
            <a:r>
              <a:rPr lang="ru-RU" sz="1600" b="1" dirty="0" err="1">
                <a:solidFill>
                  <a:prstClr val="black"/>
                </a:solidFill>
              </a:rPr>
              <a:t>және</a:t>
            </a:r>
            <a:r>
              <a:rPr lang="ru-RU" sz="1600" b="1" dirty="0">
                <a:solidFill>
                  <a:prstClr val="black"/>
                </a:solidFill>
              </a:rPr>
              <a:t> </a:t>
            </a:r>
            <a:r>
              <a:rPr lang="ru-RU" sz="1600" b="1" dirty="0" err="1">
                <a:solidFill>
                  <a:prstClr val="black"/>
                </a:solidFill>
              </a:rPr>
              <a:t>бекітілмеген</a:t>
            </a:r>
            <a:r>
              <a:rPr lang="ru-RU" sz="1600" b="1" dirty="0">
                <a:solidFill>
                  <a:prstClr val="black"/>
                </a:solidFill>
              </a:rPr>
              <a:t>.</a:t>
            </a:r>
            <a:endParaRPr lang="ru-RU" sz="1600" b="1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317500" y="1362389"/>
            <a:ext cx="1129284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err="1"/>
              <a:t>Жүргізілген</a:t>
            </a:r>
            <a:r>
              <a:rPr lang="ru-RU" sz="1600" dirty="0"/>
              <a:t> </a:t>
            </a:r>
            <a:r>
              <a:rPr lang="ru-RU" sz="1600" dirty="0" err="1"/>
              <a:t>күрделі</a:t>
            </a:r>
            <a:r>
              <a:rPr lang="ru-RU" sz="1600" dirty="0"/>
              <a:t> </a:t>
            </a:r>
            <a:r>
              <a:rPr lang="ru-RU" sz="1600" dirty="0" err="1"/>
              <a:t>жөндеу</a:t>
            </a:r>
            <a:r>
              <a:rPr lang="ru-RU" sz="1600" dirty="0"/>
              <a:t> </a:t>
            </a:r>
            <a:r>
              <a:rPr lang="ru-RU" sz="1600" dirty="0" err="1"/>
              <a:t>нәтижесінде</a:t>
            </a:r>
            <a:r>
              <a:rPr lang="ru-RU" sz="1600" dirty="0"/>
              <a:t> </a:t>
            </a:r>
            <a:r>
              <a:rPr lang="ru-RU" sz="1600" dirty="0" smtClean="0"/>
              <a:t>«ЕЭК» </a:t>
            </a:r>
            <a:r>
              <a:rPr lang="ru-RU" sz="1600" dirty="0"/>
              <a:t>АҚ </a:t>
            </a:r>
            <a:r>
              <a:rPr lang="ru-RU" sz="1600" dirty="0" err="1"/>
              <a:t>мынадай</a:t>
            </a:r>
            <a:r>
              <a:rPr lang="ru-RU" sz="1600" dirty="0"/>
              <a:t> </a:t>
            </a:r>
            <a:r>
              <a:rPr lang="ru-RU" sz="1600" dirty="0" err="1"/>
              <a:t>көрсеткіштерге</a:t>
            </a:r>
            <a:r>
              <a:rPr lang="ru-RU" sz="1600" dirty="0"/>
              <a:t> </a:t>
            </a:r>
            <a:r>
              <a:rPr lang="ru-RU" sz="1600" dirty="0" err="1"/>
              <a:t>қол</a:t>
            </a:r>
            <a:r>
              <a:rPr lang="ru-RU" sz="1600" dirty="0"/>
              <a:t> </a:t>
            </a:r>
            <a:r>
              <a:rPr lang="ru-RU" sz="1600" dirty="0" err="1"/>
              <a:t>жеткізді</a:t>
            </a:r>
            <a:endParaRPr lang="ru-RU" sz="1600" dirty="0"/>
          </a:p>
        </p:txBody>
      </p:sp>
      <p:grpSp>
        <p:nvGrpSpPr>
          <p:cNvPr id="23" name="Group 481"/>
          <p:cNvGrpSpPr/>
          <p:nvPr/>
        </p:nvGrpSpPr>
        <p:grpSpPr>
          <a:xfrm>
            <a:off x="462199" y="757231"/>
            <a:ext cx="369888" cy="369888"/>
            <a:chOff x="-1550988" y="2722564"/>
            <a:chExt cx="369888" cy="369888"/>
          </a:xfrm>
        </p:grpSpPr>
        <p:sp>
          <p:nvSpPr>
            <p:cNvPr id="24" name="Freeform 397"/>
            <p:cNvSpPr>
              <a:spLocks noEditPoints="1"/>
            </p:cNvSpPr>
            <p:nvPr/>
          </p:nvSpPr>
          <p:spPr bwMode="auto">
            <a:xfrm>
              <a:off x="-1550988" y="2722564"/>
              <a:ext cx="369888" cy="369888"/>
            </a:xfrm>
            <a:custGeom>
              <a:avLst/>
              <a:gdLst>
                <a:gd name="T0" fmla="*/ 271 w 283"/>
                <a:gd name="T1" fmla="*/ 274 h 283"/>
                <a:gd name="T2" fmla="*/ 266 w 283"/>
                <a:gd name="T3" fmla="*/ 0 h 283"/>
                <a:gd name="T4" fmla="*/ 220 w 283"/>
                <a:gd name="T5" fmla="*/ 5 h 283"/>
                <a:gd name="T6" fmla="*/ 225 w 283"/>
                <a:gd name="T7" fmla="*/ 126 h 283"/>
                <a:gd name="T8" fmla="*/ 230 w 283"/>
                <a:gd name="T9" fmla="*/ 60 h 283"/>
                <a:gd name="T10" fmla="*/ 261 w 283"/>
                <a:gd name="T11" fmla="*/ 274 h 283"/>
                <a:gd name="T12" fmla="*/ 242 w 283"/>
                <a:gd name="T13" fmla="*/ 141 h 283"/>
                <a:gd name="T14" fmla="*/ 236 w 283"/>
                <a:gd name="T15" fmla="*/ 136 h 283"/>
                <a:gd name="T16" fmla="*/ 197 w 283"/>
                <a:gd name="T17" fmla="*/ 30 h 283"/>
                <a:gd name="T18" fmla="*/ 152 w 283"/>
                <a:gd name="T19" fmla="*/ 25 h 283"/>
                <a:gd name="T20" fmla="*/ 147 w 283"/>
                <a:gd name="T21" fmla="*/ 121 h 283"/>
                <a:gd name="T22" fmla="*/ 156 w 283"/>
                <a:gd name="T23" fmla="*/ 121 h 283"/>
                <a:gd name="T24" fmla="*/ 188 w 283"/>
                <a:gd name="T25" fmla="*/ 85 h 283"/>
                <a:gd name="T26" fmla="*/ 169 w 283"/>
                <a:gd name="T27" fmla="*/ 159 h 283"/>
                <a:gd name="T28" fmla="*/ 167 w 283"/>
                <a:gd name="T29" fmla="*/ 137 h 283"/>
                <a:gd name="T30" fmla="*/ 95 w 283"/>
                <a:gd name="T31" fmla="*/ 159 h 283"/>
                <a:gd name="T32" fmla="*/ 93 w 283"/>
                <a:gd name="T33" fmla="*/ 137 h 283"/>
                <a:gd name="T34" fmla="*/ 15 w 283"/>
                <a:gd name="T35" fmla="*/ 162 h 283"/>
                <a:gd name="T36" fmla="*/ 12 w 283"/>
                <a:gd name="T37" fmla="*/ 274 h 283"/>
                <a:gd name="T38" fmla="*/ 0 w 283"/>
                <a:gd name="T39" fmla="*/ 279 h 283"/>
                <a:gd name="T40" fmla="*/ 17 w 283"/>
                <a:gd name="T41" fmla="*/ 283 h 283"/>
                <a:gd name="T42" fmla="*/ 278 w 283"/>
                <a:gd name="T43" fmla="*/ 283 h 283"/>
                <a:gd name="T44" fmla="*/ 278 w 283"/>
                <a:gd name="T45" fmla="*/ 274 h 283"/>
                <a:gd name="T46" fmla="*/ 261 w 283"/>
                <a:gd name="T47" fmla="*/ 25 h 283"/>
                <a:gd name="T48" fmla="*/ 230 w 283"/>
                <a:gd name="T49" fmla="*/ 10 h 283"/>
                <a:gd name="T50" fmla="*/ 230 w 283"/>
                <a:gd name="T51" fmla="*/ 50 h 283"/>
                <a:gd name="T52" fmla="*/ 261 w 283"/>
                <a:gd name="T53" fmla="*/ 35 h 283"/>
                <a:gd name="T54" fmla="*/ 230 w 283"/>
                <a:gd name="T55" fmla="*/ 50 h 283"/>
                <a:gd name="T56" fmla="*/ 188 w 283"/>
                <a:gd name="T57" fmla="*/ 51 h 283"/>
                <a:gd name="T58" fmla="*/ 156 w 283"/>
                <a:gd name="T59" fmla="*/ 35 h 283"/>
                <a:gd name="T60" fmla="*/ 156 w 283"/>
                <a:gd name="T61" fmla="*/ 76 h 283"/>
                <a:gd name="T62" fmla="*/ 188 w 283"/>
                <a:gd name="T63" fmla="*/ 60 h 283"/>
                <a:gd name="T64" fmla="*/ 156 w 283"/>
                <a:gd name="T65" fmla="*/ 76 h 283"/>
                <a:gd name="T66" fmla="*/ 85 w 283"/>
                <a:gd name="T67" fmla="*/ 166 h 283"/>
                <a:gd name="T68" fmla="*/ 92 w 283"/>
                <a:gd name="T69" fmla="*/ 171 h 283"/>
                <a:gd name="T70" fmla="*/ 159 w 283"/>
                <a:gd name="T71" fmla="*/ 166 h 283"/>
                <a:gd name="T72" fmla="*/ 165 w 283"/>
                <a:gd name="T73" fmla="*/ 171 h 283"/>
                <a:gd name="T74" fmla="*/ 233 w 283"/>
                <a:gd name="T75" fmla="*/ 274 h 283"/>
                <a:gd name="T76" fmla="*/ 21 w 283"/>
                <a:gd name="T77" fmla="*/ 260 h 283"/>
                <a:gd name="T78" fmla="*/ 130 w 283"/>
                <a:gd name="T79" fmla="*/ 255 h 283"/>
                <a:gd name="T80" fmla="*/ 21 w 283"/>
                <a:gd name="T81" fmla="*/ 250 h 283"/>
                <a:gd name="T82" fmla="*/ 85 w 283"/>
                <a:gd name="T83" fmla="*/ 14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3" h="283">
                  <a:moveTo>
                    <a:pt x="278" y="274"/>
                  </a:moveTo>
                  <a:cubicBezTo>
                    <a:pt x="271" y="274"/>
                    <a:pt x="271" y="274"/>
                    <a:pt x="271" y="274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71" y="2"/>
                    <a:pt x="269" y="0"/>
                    <a:pt x="26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2" y="0"/>
                    <a:pt x="220" y="2"/>
                    <a:pt x="220" y="5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4"/>
                    <a:pt x="222" y="126"/>
                    <a:pt x="225" y="126"/>
                  </a:cubicBezTo>
                  <a:cubicBezTo>
                    <a:pt x="228" y="126"/>
                    <a:pt x="230" y="124"/>
                    <a:pt x="230" y="121"/>
                  </a:cubicBezTo>
                  <a:cubicBezTo>
                    <a:pt x="230" y="60"/>
                    <a:pt x="230" y="60"/>
                    <a:pt x="230" y="60"/>
                  </a:cubicBezTo>
                  <a:cubicBezTo>
                    <a:pt x="261" y="60"/>
                    <a:pt x="261" y="60"/>
                    <a:pt x="261" y="60"/>
                  </a:cubicBezTo>
                  <a:cubicBezTo>
                    <a:pt x="261" y="274"/>
                    <a:pt x="261" y="274"/>
                    <a:pt x="261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141"/>
                    <a:pt x="242" y="141"/>
                    <a:pt x="242" y="141"/>
                  </a:cubicBezTo>
                  <a:cubicBezTo>
                    <a:pt x="242" y="139"/>
                    <a:pt x="241" y="138"/>
                    <a:pt x="240" y="137"/>
                  </a:cubicBezTo>
                  <a:cubicBezTo>
                    <a:pt x="239" y="136"/>
                    <a:pt x="237" y="136"/>
                    <a:pt x="236" y="136"/>
                  </a:cubicBezTo>
                  <a:cubicBezTo>
                    <a:pt x="197" y="150"/>
                    <a:pt x="197" y="150"/>
                    <a:pt x="197" y="15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8"/>
                    <a:pt x="195" y="25"/>
                    <a:pt x="19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49" y="25"/>
                    <a:pt x="147" y="28"/>
                    <a:pt x="147" y="30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4"/>
                    <a:pt x="149" y="126"/>
                    <a:pt x="152" y="126"/>
                  </a:cubicBezTo>
                  <a:cubicBezTo>
                    <a:pt x="154" y="126"/>
                    <a:pt x="156" y="124"/>
                    <a:pt x="156" y="121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139"/>
                    <a:pt x="168" y="138"/>
                    <a:pt x="167" y="137"/>
                  </a:cubicBezTo>
                  <a:cubicBezTo>
                    <a:pt x="166" y="136"/>
                    <a:pt x="164" y="136"/>
                    <a:pt x="162" y="136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5" y="139"/>
                    <a:pt x="94" y="138"/>
                    <a:pt x="93" y="137"/>
                  </a:cubicBezTo>
                  <a:cubicBezTo>
                    <a:pt x="92" y="136"/>
                    <a:pt x="90" y="136"/>
                    <a:pt x="89" y="136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3" y="162"/>
                    <a:pt x="12" y="164"/>
                    <a:pt x="12" y="166"/>
                  </a:cubicBezTo>
                  <a:cubicBezTo>
                    <a:pt x="12" y="274"/>
                    <a:pt x="12" y="274"/>
                    <a:pt x="12" y="274"/>
                  </a:cubicBezTo>
                  <a:cubicBezTo>
                    <a:pt x="4" y="274"/>
                    <a:pt x="4" y="274"/>
                    <a:pt x="4" y="274"/>
                  </a:cubicBezTo>
                  <a:cubicBezTo>
                    <a:pt x="2" y="274"/>
                    <a:pt x="0" y="276"/>
                    <a:pt x="0" y="279"/>
                  </a:cubicBezTo>
                  <a:cubicBezTo>
                    <a:pt x="0" y="281"/>
                    <a:pt x="2" y="283"/>
                    <a:pt x="4" y="283"/>
                  </a:cubicBezTo>
                  <a:cubicBezTo>
                    <a:pt x="17" y="283"/>
                    <a:pt x="17" y="283"/>
                    <a:pt x="17" y="283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1" y="283"/>
                    <a:pt x="283" y="281"/>
                    <a:pt x="283" y="279"/>
                  </a:cubicBezTo>
                  <a:cubicBezTo>
                    <a:pt x="283" y="276"/>
                    <a:pt x="281" y="274"/>
                    <a:pt x="278" y="274"/>
                  </a:cubicBezTo>
                  <a:close/>
                  <a:moveTo>
                    <a:pt x="261" y="10"/>
                  </a:moveTo>
                  <a:cubicBezTo>
                    <a:pt x="261" y="25"/>
                    <a:pt x="261" y="25"/>
                    <a:pt x="261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10"/>
                    <a:pt x="230" y="10"/>
                    <a:pt x="230" y="10"/>
                  </a:cubicBezTo>
                  <a:lnTo>
                    <a:pt x="261" y="10"/>
                  </a:lnTo>
                  <a:close/>
                  <a:moveTo>
                    <a:pt x="230" y="50"/>
                  </a:moveTo>
                  <a:cubicBezTo>
                    <a:pt x="230" y="35"/>
                    <a:pt x="230" y="35"/>
                    <a:pt x="230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50"/>
                    <a:pt x="261" y="50"/>
                    <a:pt x="261" y="50"/>
                  </a:cubicBezTo>
                  <a:lnTo>
                    <a:pt x="230" y="50"/>
                  </a:lnTo>
                  <a:close/>
                  <a:moveTo>
                    <a:pt x="188" y="35"/>
                  </a:moveTo>
                  <a:cubicBezTo>
                    <a:pt x="188" y="51"/>
                    <a:pt x="188" y="51"/>
                    <a:pt x="188" y="51"/>
                  </a:cubicBezTo>
                  <a:cubicBezTo>
                    <a:pt x="156" y="51"/>
                    <a:pt x="156" y="51"/>
                    <a:pt x="156" y="51"/>
                  </a:cubicBezTo>
                  <a:cubicBezTo>
                    <a:pt x="156" y="35"/>
                    <a:pt x="156" y="35"/>
                    <a:pt x="156" y="35"/>
                  </a:cubicBezTo>
                  <a:lnTo>
                    <a:pt x="188" y="35"/>
                  </a:lnTo>
                  <a:close/>
                  <a:moveTo>
                    <a:pt x="156" y="76"/>
                  </a:moveTo>
                  <a:cubicBezTo>
                    <a:pt x="156" y="60"/>
                    <a:pt x="156" y="60"/>
                    <a:pt x="156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88" y="76"/>
                    <a:pt x="188" y="76"/>
                    <a:pt x="188" y="76"/>
                  </a:cubicBezTo>
                  <a:lnTo>
                    <a:pt x="156" y="76"/>
                  </a:lnTo>
                  <a:close/>
                  <a:moveTo>
                    <a:pt x="85" y="147"/>
                  </a:moveTo>
                  <a:cubicBezTo>
                    <a:pt x="85" y="166"/>
                    <a:pt x="85" y="166"/>
                    <a:pt x="85" y="166"/>
                  </a:cubicBezTo>
                  <a:cubicBezTo>
                    <a:pt x="85" y="168"/>
                    <a:pt x="86" y="169"/>
                    <a:pt x="87" y="170"/>
                  </a:cubicBezTo>
                  <a:cubicBezTo>
                    <a:pt x="89" y="171"/>
                    <a:pt x="90" y="171"/>
                    <a:pt x="92" y="171"/>
                  </a:cubicBezTo>
                  <a:cubicBezTo>
                    <a:pt x="159" y="147"/>
                    <a:pt x="159" y="147"/>
                    <a:pt x="159" y="147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8"/>
                    <a:pt x="160" y="169"/>
                    <a:pt x="161" y="170"/>
                  </a:cubicBezTo>
                  <a:cubicBezTo>
                    <a:pt x="162" y="171"/>
                    <a:pt x="164" y="171"/>
                    <a:pt x="165" y="171"/>
                  </a:cubicBezTo>
                  <a:cubicBezTo>
                    <a:pt x="233" y="147"/>
                    <a:pt x="233" y="147"/>
                    <a:pt x="233" y="147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8" y="260"/>
                    <a:pt x="130" y="257"/>
                    <a:pt x="130" y="255"/>
                  </a:cubicBezTo>
                  <a:cubicBezTo>
                    <a:pt x="130" y="252"/>
                    <a:pt x="128" y="250"/>
                    <a:pt x="126" y="250"/>
                  </a:cubicBezTo>
                  <a:cubicBezTo>
                    <a:pt x="21" y="250"/>
                    <a:pt x="21" y="250"/>
                    <a:pt x="21" y="250"/>
                  </a:cubicBezTo>
                  <a:cubicBezTo>
                    <a:pt x="21" y="169"/>
                    <a:pt x="21" y="169"/>
                    <a:pt x="21" y="169"/>
                  </a:cubicBezTo>
                  <a:lnTo>
                    <a:pt x="85" y="147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25" name="Freeform 398"/>
            <p:cNvSpPr>
              <a:spLocks noEditPoints="1"/>
            </p:cNvSpPr>
            <p:nvPr/>
          </p:nvSpPr>
          <p:spPr bwMode="auto">
            <a:xfrm>
              <a:off x="-1511301" y="2960689"/>
              <a:ext cx="80963" cy="41275"/>
            </a:xfrm>
            <a:custGeom>
              <a:avLst/>
              <a:gdLst>
                <a:gd name="T0" fmla="*/ 5 w 61"/>
                <a:gd name="T1" fmla="*/ 32 h 32"/>
                <a:gd name="T2" fmla="*/ 57 w 61"/>
                <a:gd name="T3" fmla="*/ 32 h 32"/>
                <a:gd name="T4" fmla="*/ 61 w 61"/>
                <a:gd name="T5" fmla="*/ 27 h 32"/>
                <a:gd name="T6" fmla="*/ 61 w 61"/>
                <a:gd name="T7" fmla="*/ 5 h 32"/>
                <a:gd name="T8" fmla="*/ 57 w 61"/>
                <a:gd name="T9" fmla="*/ 0 h 32"/>
                <a:gd name="T10" fmla="*/ 5 w 61"/>
                <a:gd name="T11" fmla="*/ 0 h 32"/>
                <a:gd name="T12" fmla="*/ 0 w 61"/>
                <a:gd name="T13" fmla="*/ 5 h 32"/>
                <a:gd name="T14" fmla="*/ 0 w 61"/>
                <a:gd name="T15" fmla="*/ 27 h 32"/>
                <a:gd name="T16" fmla="*/ 5 w 61"/>
                <a:gd name="T17" fmla="*/ 32 h 32"/>
                <a:gd name="T18" fmla="*/ 10 w 61"/>
                <a:gd name="T19" fmla="*/ 10 h 32"/>
                <a:gd name="T20" fmla="*/ 52 w 61"/>
                <a:gd name="T21" fmla="*/ 10 h 32"/>
                <a:gd name="T22" fmla="*/ 52 w 61"/>
                <a:gd name="T23" fmla="*/ 23 h 32"/>
                <a:gd name="T24" fmla="*/ 10 w 61"/>
                <a:gd name="T25" fmla="*/ 23 h 32"/>
                <a:gd name="T26" fmla="*/ 10 w 61"/>
                <a:gd name="T2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2">
                  <a:moveTo>
                    <a:pt x="5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9" y="32"/>
                    <a:pt x="61" y="30"/>
                    <a:pt x="61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2"/>
                    <a:pt x="59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lose/>
                  <a:moveTo>
                    <a:pt x="10" y="10"/>
                  </a:moveTo>
                  <a:cubicBezTo>
                    <a:pt x="52" y="10"/>
                    <a:pt x="52" y="10"/>
                    <a:pt x="52" y="1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26" name="Freeform 399"/>
            <p:cNvSpPr>
              <a:spLocks noEditPoints="1"/>
            </p:cNvSpPr>
            <p:nvPr/>
          </p:nvSpPr>
          <p:spPr bwMode="auto">
            <a:xfrm>
              <a:off x="-1363663" y="3013076"/>
              <a:ext cx="98425" cy="60325"/>
            </a:xfrm>
            <a:custGeom>
              <a:avLst/>
              <a:gdLst>
                <a:gd name="T0" fmla="*/ 5 w 75"/>
                <a:gd name="T1" fmla="*/ 46 h 46"/>
                <a:gd name="T2" fmla="*/ 10 w 75"/>
                <a:gd name="T3" fmla="*/ 42 h 46"/>
                <a:gd name="T4" fmla="*/ 10 w 75"/>
                <a:gd name="T5" fmla="*/ 41 h 46"/>
                <a:gd name="T6" fmla="*/ 65 w 75"/>
                <a:gd name="T7" fmla="*/ 41 h 46"/>
                <a:gd name="T8" fmla="*/ 65 w 75"/>
                <a:gd name="T9" fmla="*/ 42 h 46"/>
                <a:gd name="T10" fmla="*/ 70 w 75"/>
                <a:gd name="T11" fmla="*/ 46 h 46"/>
                <a:gd name="T12" fmla="*/ 75 w 75"/>
                <a:gd name="T13" fmla="*/ 42 h 46"/>
                <a:gd name="T14" fmla="*/ 75 w 75"/>
                <a:gd name="T15" fmla="*/ 5 h 46"/>
                <a:gd name="T16" fmla="*/ 70 w 75"/>
                <a:gd name="T17" fmla="*/ 0 h 46"/>
                <a:gd name="T18" fmla="*/ 5 w 75"/>
                <a:gd name="T19" fmla="*/ 0 h 46"/>
                <a:gd name="T20" fmla="*/ 0 w 75"/>
                <a:gd name="T21" fmla="*/ 5 h 46"/>
                <a:gd name="T22" fmla="*/ 0 w 75"/>
                <a:gd name="T23" fmla="*/ 42 h 46"/>
                <a:gd name="T24" fmla="*/ 5 w 75"/>
                <a:gd name="T25" fmla="*/ 46 h 46"/>
                <a:gd name="T26" fmla="*/ 10 w 75"/>
                <a:gd name="T27" fmla="*/ 31 h 46"/>
                <a:gd name="T28" fmla="*/ 10 w 75"/>
                <a:gd name="T29" fmla="*/ 26 h 46"/>
                <a:gd name="T30" fmla="*/ 65 w 75"/>
                <a:gd name="T31" fmla="*/ 26 h 46"/>
                <a:gd name="T32" fmla="*/ 65 w 75"/>
                <a:gd name="T33" fmla="*/ 31 h 46"/>
                <a:gd name="T34" fmla="*/ 10 w 75"/>
                <a:gd name="T35" fmla="*/ 31 h 46"/>
                <a:gd name="T36" fmla="*/ 65 w 75"/>
                <a:gd name="T37" fmla="*/ 10 h 46"/>
                <a:gd name="T38" fmla="*/ 65 w 75"/>
                <a:gd name="T39" fmla="*/ 16 h 46"/>
                <a:gd name="T40" fmla="*/ 10 w 75"/>
                <a:gd name="T41" fmla="*/ 16 h 46"/>
                <a:gd name="T42" fmla="*/ 10 w 75"/>
                <a:gd name="T43" fmla="*/ 10 h 46"/>
                <a:gd name="T44" fmla="*/ 65 w 75"/>
                <a:gd name="T45" fmla="*/ 1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46">
                  <a:moveTo>
                    <a:pt x="5" y="46"/>
                  </a:moveTo>
                  <a:cubicBezTo>
                    <a:pt x="8" y="46"/>
                    <a:pt x="10" y="44"/>
                    <a:pt x="10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4"/>
                    <a:pt x="67" y="46"/>
                    <a:pt x="70" y="46"/>
                  </a:cubicBezTo>
                  <a:cubicBezTo>
                    <a:pt x="73" y="46"/>
                    <a:pt x="75" y="44"/>
                    <a:pt x="75" y="4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3" y="46"/>
                    <a:pt x="5" y="46"/>
                  </a:cubicBezTo>
                  <a:close/>
                  <a:moveTo>
                    <a:pt x="10" y="31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10" y="31"/>
                  </a:lnTo>
                  <a:close/>
                  <a:moveTo>
                    <a:pt x="65" y="10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65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8627796"/>
              </p:ext>
            </p:extLst>
          </p:nvPr>
        </p:nvGraphicFramePr>
        <p:xfrm>
          <a:off x="392528" y="1700943"/>
          <a:ext cx="11280028" cy="2464203"/>
        </p:xfrm>
        <a:graphic>
          <a:graphicData uri="http://schemas.openxmlformats.org/drawingml/2006/table">
            <a:tbl>
              <a:tblPr/>
              <a:tblGrid>
                <a:gridCol w="25158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37776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6635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32411">
                  <a:extLst>
                    <a:ext uri="{9D8B030D-6E8A-4147-A177-3AD203B41FA5}">
                      <a16:colId xmlns="" xmlns:a16="http://schemas.microsoft.com/office/drawing/2014/main" val="1317127961"/>
                    </a:ext>
                  </a:extLst>
                </a:gridCol>
                <a:gridCol w="126274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7536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309154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222270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64515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/с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німділік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ен сапа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кіш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лшем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ірліг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Есепті</a:t>
                      </a:r>
                      <a:r>
                        <a:rPr lang="ru-RU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езеңнің</a:t>
                      </a:r>
                      <a:r>
                        <a:rPr lang="ru-RU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лдындағы</a:t>
                      </a:r>
                      <a:r>
                        <a:rPr lang="ru-RU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ылдың</a:t>
                      </a:r>
                      <a:r>
                        <a:rPr lang="ru-RU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ерегі</a:t>
                      </a:r>
                      <a:endParaRPr lang="ru-RU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ылдың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оспары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ылдың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рег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німділік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ен сапа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кіштерінің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қталуын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ғалау</a:t>
                      </a:r>
                      <a:endParaRPr lang="ru-RU" sz="1000" b="1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німділік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ен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паны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қтамаудың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бептері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гіздемесі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</a:t>
                      </a:r>
                      <a:endParaRPr lang="ru-RU" sz="1000" b="1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47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9271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гізгі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ұралдардың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озуын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зайту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%</a:t>
                      </a:r>
                    </a:p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кітілмеген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-20,8%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кітілген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вестициялық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ғдарламада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өзделген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с-шараларды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рындау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озу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еңгейін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өмендетуге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үмкіндік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рді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</a:p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2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локтың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гізгі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әне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шыңдық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азандықтары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0%-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ға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</a:p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4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локтың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гізгі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әне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шыңдық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азандықтары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4%-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ға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</a:p>
                    <a:p>
                      <a:r>
                        <a:rPr lang="kk-KZ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Н</a:t>
                      </a: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3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елілік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рғы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,7 %-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ға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</a:p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5 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елілік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рғы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37 %-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ға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</a:p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6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елілік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рғы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30,2%-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ға</a:t>
                      </a:r>
                      <a:endParaRPr lang="ru-RU" sz="10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err="1" smtClean="0"/>
                        <a:t>қол</a:t>
                      </a:r>
                      <a:r>
                        <a:rPr lang="ru-RU" dirty="0" smtClean="0"/>
                        <a:t> </a:t>
                      </a:r>
                      <a:r>
                        <a:rPr lang="ru-RU" dirty="0" err="1" smtClean="0"/>
                        <a:t>жеткізілді</a:t>
                      </a:r>
                      <a:endParaRPr lang="ru-RU" dirty="0"/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287061338"/>
                  </a:ext>
                </a:extLst>
              </a:tr>
            </a:tbl>
          </a:graphicData>
        </a:graphic>
      </p:graphicFrame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481690"/>
              </p:ext>
            </p:extLst>
          </p:nvPr>
        </p:nvGraphicFramePr>
        <p:xfrm>
          <a:off x="392528" y="4153036"/>
          <a:ext cx="11280027" cy="2464203"/>
        </p:xfrm>
        <a:graphic>
          <a:graphicData uri="http://schemas.openxmlformats.org/drawingml/2006/table">
            <a:tbl>
              <a:tblPr/>
              <a:tblGrid>
                <a:gridCol w="25124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36939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7506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41120">
                  <a:extLst>
                    <a:ext uri="{9D8B030D-6E8A-4147-A177-3AD203B41FA5}">
                      <a16:colId xmlns="" xmlns:a16="http://schemas.microsoft.com/office/drawing/2014/main" val="2777463631"/>
                    </a:ext>
                  </a:extLst>
                </a:gridCol>
                <a:gridCol w="125403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7536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3100251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213561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7191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/с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иімділік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кіш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лшем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ірліг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Есепті</a:t>
                      </a:r>
                      <a:r>
                        <a:rPr lang="ru-RU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езеңнің</a:t>
                      </a:r>
                      <a:r>
                        <a:rPr lang="ru-RU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лдындағы</a:t>
                      </a:r>
                      <a:r>
                        <a:rPr lang="ru-RU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ылдың</a:t>
                      </a:r>
                      <a:r>
                        <a:rPr lang="ru-RU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ерег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ылдың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оспары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ылдың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рег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иімділік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кіштеріне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л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ткізуді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ғалау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иімділік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кіштеріне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л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ткізбеу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бептері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гіздемесі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47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9271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гізгі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ұралдардың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озуын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зайту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%</a:t>
                      </a:r>
                    </a:p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кітілмеген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-20,8%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кітілген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вестициялық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ғдарламада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өзделген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іс-шараларды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рындау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озу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еңгейін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өмендетуге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үмкіндік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рді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</a:p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2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локтың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гізгі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әне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шыңдық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азандықтары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0%-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ға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</a:p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4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локтың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гізгі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әне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шыңдық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азандықтары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4%-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ға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</a:p>
                    <a:p>
                      <a:r>
                        <a:rPr lang="kk-KZ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Н</a:t>
                      </a: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3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елілік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рғы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,7 %-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ға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</a:p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5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елілік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рғы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37 %-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ға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</a:p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6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елілік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рғы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30,2 %-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ға</a:t>
                      </a:r>
                      <a:endParaRPr lang="ru-RU" sz="10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err="1" smtClean="0"/>
                        <a:t>қол</a:t>
                      </a:r>
                      <a:r>
                        <a:rPr lang="ru-RU" dirty="0" smtClean="0"/>
                        <a:t> </a:t>
                      </a:r>
                      <a:r>
                        <a:rPr lang="ru-RU" dirty="0" err="1" smtClean="0"/>
                        <a:t>жеткізілді</a:t>
                      </a:r>
                      <a:endParaRPr lang="ru-RU" dirty="0"/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2870613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9703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1181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76" name="Слайд think-cell" r:id="rId26" imgW="594" imgH="595" progId="TCLayout.ActiveDocument.1">
                  <p:embed/>
                </p:oleObj>
              </mc:Choice>
              <mc:Fallback>
                <p:oleObj name="Слайд think-cell" r:id="rId26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/>
            <a:r>
              <a:rPr lang="ru-RU" b="0" dirty="0" smtClean="0">
                <a:solidFill>
                  <a:schemeClr val="accent1"/>
                </a:solidFill>
              </a:rPr>
              <a:t>ЕЭК: </a:t>
            </a:r>
            <a:r>
              <a:rPr lang="ru-RU" dirty="0"/>
              <a:t>2025 </a:t>
            </a:r>
            <a:r>
              <a:rPr lang="ru-RU" dirty="0" err="1"/>
              <a:t>жылғы</a:t>
            </a:r>
            <a:r>
              <a:rPr lang="ru-RU" dirty="0"/>
              <a:t> </a:t>
            </a:r>
            <a:r>
              <a:rPr lang="ru-RU" dirty="0" err="1"/>
              <a:t>негізгі</a:t>
            </a:r>
            <a:r>
              <a:rPr lang="ru-RU" dirty="0"/>
              <a:t> </a:t>
            </a:r>
            <a:r>
              <a:rPr lang="ru-RU" dirty="0" err="1"/>
              <a:t>қаржы-экономикалық</a:t>
            </a:r>
            <a:r>
              <a:rPr lang="ru-RU" dirty="0"/>
              <a:t> </a:t>
            </a:r>
            <a:r>
              <a:rPr lang="ru-RU" dirty="0" err="1"/>
              <a:t>көрсеткіштер</a:t>
            </a:r>
            <a:r>
              <a:rPr lang="ru-RU" dirty="0"/>
              <a:t> </a:t>
            </a:r>
            <a:r>
              <a:rPr lang="ru-RU" dirty="0" err="1"/>
              <a:t>және</a:t>
            </a:r>
            <a:r>
              <a:rPr lang="ru-RU" dirty="0"/>
              <a:t> </a:t>
            </a:r>
            <a:r>
              <a:rPr lang="ru-RU" dirty="0" err="1"/>
              <a:t>жылу</a:t>
            </a:r>
            <a:r>
              <a:rPr lang="ru-RU" dirty="0"/>
              <a:t> </a:t>
            </a:r>
            <a:r>
              <a:rPr lang="ru-RU" dirty="0" err="1"/>
              <a:t>энергиясын</a:t>
            </a:r>
            <a:r>
              <a:rPr lang="ru-RU" dirty="0"/>
              <a:t> </a:t>
            </a:r>
            <a:r>
              <a:rPr lang="ru-RU" dirty="0" err="1"/>
              <a:t>өндіру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көрсетілген</a:t>
            </a:r>
            <a:r>
              <a:rPr lang="ru-RU" dirty="0"/>
              <a:t> </a:t>
            </a:r>
            <a:r>
              <a:rPr lang="ru-RU" dirty="0" err="1"/>
              <a:t>қызметтердің</a:t>
            </a:r>
            <a:r>
              <a:rPr lang="ru-RU" dirty="0"/>
              <a:t> </a:t>
            </a:r>
            <a:r>
              <a:rPr lang="ru-RU" dirty="0" err="1"/>
              <a:t>көлемі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31" name="Freeform 140"/>
          <p:cNvSpPr/>
          <p:nvPr/>
        </p:nvSpPr>
        <p:spPr>
          <a:xfrm>
            <a:off x="341312" y="1450644"/>
            <a:ext cx="5475290" cy="4357688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200" dirty="0" err="1">
                <a:solidFill>
                  <a:schemeClr val="accent1"/>
                </a:solidFill>
              </a:rPr>
              <a:t>көрсеткіштер</a:t>
            </a:r>
            <a:endParaRPr lang="da-DK" sz="1200" dirty="0">
              <a:solidFill>
                <a:schemeClr val="accent1"/>
              </a:solidFill>
            </a:endParaRPr>
          </a:p>
        </p:txBody>
      </p:sp>
      <p:graphicFrame>
        <p:nvGraphicFramePr>
          <p:cNvPr id="68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89376158"/>
              </p:ext>
            </p:extLst>
          </p:nvPr>
        </p:nvGraphicFramePr>
        <p:xfrm>
          <a:off x="2141538" y="2343150"/>
          <a:ext cx="3803650" cy="1446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graphicFrame>
        <p:nvGraphicFramePr>
          <p:cNvPr id="105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15261216"/>
              </p:ext>
            </p:extLst>
          </p:nvPr>
        </p:nvGraphicFramePr>
        <p:xfrm>
          <a:off x="2089150" y="1495425"/>
          <a:ext cx="2166938" cy="866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39" name="TextBox 38"/>
          <p:cNvSpPr txBox="1"/>
          <p:nvPr/>
        </p:nvSpPr>
        <p:spPr>
          <a:xfrm>
            <a:off x="468313" y="1787278"/>
            <a:ext cx="1524000" cy="55399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err="1"/>
              <a:t>Көрсетілетін</a:t>
            </a:r>
            <a:r>
              <a:rPr lang="ru-RU" sz="1200" dirty="0"/>
              <a:t> </a:t>
            </a:r>
            <a:r>
              <a:rPr lang="ru-RU" sz="1200" dirty="0" err="1"/>
              <a:t>қызметтер</a:t>
            </a:r>
            <a:r>
              <a:rPr lang="ru-RU" sz="1200" dirty="0"/>
              <a:t> </a:t>
            </a:r>
            <a:r>
              <a:rPr lang="ru-RU" sz="1200" dirty="0" err="1"/>
              <a:t>көлемі</a:t>
            </a:r>
            <a:r>
              <a:rPr lang="ru-RU" sz="1200" dirty="0"/>
              <a:t>, </a:t>
            </a:r>
            <a:r>
              <a:rPr lang="ru-RU" sz="1200" dirty="0" err="1"/>
              <a:t>мың</a:t>
            </a:r>
            <a:r>
              <a:rPr lang="ru-RU" sz="1200" dirty="0"/>
              <a:t> Гкал</a:t>
            </a:r>
            <a:endParaRPr lang="ru-RU" sz="1200" dirty="0">
              <a:latin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81013" y="2713322"/>
            <a:ext cx="16684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err="1"/>
              <a:t>Табыс</a:t>
            </a:r>
            <a:r>
              <a:rPr lang="ru-RU" sz="1200" dirty="0"/>
              <a:t>, млн. </a:t>
            </a:r>
            <a:r>
              <a:rPr lang="ru-RU" sz="1200" dirty="0" err="1"/>
              <a:t>теңге</a:t>
            </a:r>
            <a:endParaRPr lang="ru-RU" sz="1200" dirty="0">
              <a:latin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81012" y="3268469"/>
            <a:ext cx="1770482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err="1"/>
              <a:t>Шығындар</a:t>
            </a:r>
            <a:r>
              <a:rPr lang="ru-RU" sz="1200" dirty="0"/>
              <a:t>, млн. </a:t>
            </a:r>
            <a:r>
              <a:rPr lang="ru-RU" sz="1200" dirty="0" err="1"/>
              <a:t>теңге</a:t>
            </a:r>
            <a:endParaRPr lang="ru-RU" sz="1200" dirty="0">
              <a:latin typeface="+mn-lt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68313" y="4606925"/>
            <a:ext cx="1508125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err="1"/>
              <a:t>Құны</a:t>
            </a:r>
            <a:r>
              <a:rPr lang="ru-RU" sz="1200" dirty="0"/>
              <a:t>, </a:t>
            </a:r>
            <a:r>
              <a:rPr lang="ru-RU" sz="1200" dirty="0" err="1"/>
              <a:t>теңге</a:t>
            </a:r>
            <a:r>
              <a:rPr lang="ru-RU" sz="1200" dirty="0"/>
              <a:t> / Гкал</a:t>
            </a:r>
            <a:endParaRPr lang="ru-RU" sz="1200" dirty="0">
              <a:latin typeface="+mn-lt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55613" y="3941763"/>
            <a:ext cx="15287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err="1" smtClean="0"/>
              <a:t>Залал</a:t>
            </a:r>
            <a:r>
              <a:rPr lang="ru-RU" sz="1200" dirty="0" smtClean="0"/>
              <a:t> </a:t>
            </a:r>
            <a:r>
              <a:rPr lang="ru-RU" sz="1200" dirty="0"/>
              <a:t>млн. </a:t>
            </a:r>
            <a:r>
              <a:rPr lang="ru-RU" sz="1200" dirty="0" err="1"/>
              <a:t>теңге</a:t>
            </a:r>
            <a:endParaRPr lang="ru-RU" sz="1200" dirty="0" smtClean="0">
              <a:latin typeface="+mn-lt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61963" y="5210454"/>
            <a:ext cx="1522413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Тариф, </a:t>
            </a:r>
          </a:p>
          <a:p>
            <a:r>
              <a:rPr lang="ru-RU" sz="1200" dirty="0" err="1" smtClean="0">
                <a:latin typeface="+mn-lt"/>
              </a:rPr>
              <a:t>теңге</a:t>
            </a:r>
            <a:r>
              <a:rPr lang="ru-RU" sz="1200" dirty="0" smtClean="0">
                <a:latin typeface="+mn-lt"/>
              </a:rPr>
              <a:t>/ Гкал</a:t>
            </a:r>
            <a:endParaRPr lang="ru-RU" sz="1200" dirty="0">
              <a:latin typeface="+mn-lt"/>
            </a:endParaRPr>
          </a:p>
        </p:txBody>
      </p:sp>
      <p:graphicFrame>
        <p:nvGraphicFramePr>
          <p:cNvPr id="69" name="Chart 3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423830601"/>
              </p:ext>
            </p:extLst>
          </p:nvPr>
        </p:nvGraphicFramePr>
        <p:xfrm>
          <a:off x="1654175" y="4284663"/>
          <a:ext cx="2960688" cy="895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48" name="Rectangle 119"/>
          <p:cNvSpPr/>
          <p:nvPr/>
        </p:nvSpPr>
        <p:spPr>
          <a:xfrm>
            <a:off x="-1587" y="5963906"/>
            <a:ext cx="12192000" cy="564780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 err="1"/>
              <a:t>Қолданыстағы</a:t>
            </a:r>
            <a:r>
              <a:rPr lang="ru-RU" dirty="0"/>
              <a:t> </a:t>
            </a:r>
            <a:r>
              <a:rPr lang="ru-RU" dirty="0" err="1"/>
              <a:t>тарифтер</a:t>
            </a:r>
            <a:r>
              <a:rPr lang="ru-RU" dirty="0"/>
              <a:t> </a:t>
            </a:r>
            <a:r>
              <a:rPr lang="ru-RU" dirty="0" err="1"/>
              <a:t>реттелетін</a:t>
            </a:r>
            <a:r>
              <a:rPr lang="ru-RU" dirty="0"/>
              <a:t> </a:t>
            </a:r>
            <a:r>
              <a:rPr lang="ru-RU" dirty="0" err="1"/>
              <a:t>қызметтердің</a:t>
            </a:r>
            <a:r>
              <a:rPr lang="ru-RU" dirty="0"/>
              <a:t> </a:t>
            </a:r>
            <a:r>
              <a:rPr lang="ru-RU" dirty="0" err="1"/>
              <a:t>шығындарын</a:t>
            </a:r>
            <a:r>
              <a:rPr lang="ru-RU" dirty="0"/>
              <a:t> </a:t>
            </a:r>
            <a:r>
              <a:rPr lang="ru-RU" dirty="0" err="1"/>
              <a:t>өтемейді</a:t>
            </a:r>
            <a:endParaRPr lang="ru-RU" sz="1600" dirty="0">
              <a:solidFill>
                <a:schemeClr val="bg1"/>
              </a:solidFill>
            </a:endParaRPr>
          </a:p>
        </p:txBody>
      </p:sp>
      <p:graphicFrame>
        <p:nvGraphicFramePr>
          <p:cNvPr id="86" name="Chart 3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78973670"/>
              </p:ext>
            </p:extLst>
          </p:nvPr>
        </p:nvGraphicFramePr>
        <p:xfrm>
          <a:off x="1366838" y="4859338"/>
          <a:ext cx="2960687" cy="1071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22" name="Прямоугольник 21"/>
          <p:cNvSpPr/>
          <p:nvPr>
            <p:custDataLst>
              <p:tags r:id="rId7"/>
            </p:custDataLst>
          </p:nvPr>
        </p:nvSpPr>
        <p:spPr bwMode="auto">
          <a:xfrm>
            <a:off x="1504950" y="5160964"/>
            <a:ext cx="6604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C64EE96-DD66-433C-B31B-48950CE5CF10}" type="datetime'''c'''''' 0''''1''.0''''''1''''''.''''''''''''2''''''025'''">
              <a:rPr lang="en-US" altLang="en-US" sz="900" smtClean="0">
                <a:solidFill>
                  <a:schemeClr val="tx1"/>
                </a:solidFill>
                <a:sym typeface="Arial" panose="020B060402020202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c 01.01.2025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8"/>
            </p:custDataLst>
          </p:nvPr>
        </p:nvSpPr>
        <p:spPr bwMode="auto">
          <a:xfrm>
            <a:off x="1504950" y="5492751"/>
            <a:ext cx="6604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6CD9EC9-D177-4513-9CD0-17505D316C57}" type="datetime'''c'' ''''''''''''''0''''1''.0''''''8''''.2''02''''''''5'">
              <a:rPr lang="en-US" altLang="en-US" sz="900" smtClean="0">
                <a:solidFill>
                  <a:schemeClr val="tx1"/>
                </a:solidFill>
                <a:sym typeface="Arial" panose="020B060402020202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c 01.08.2025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10787" y="1070700"/>
            <a:ext cx="4765778" cy="2159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err="1">
                <a:solidFill>
                  <a:schemeClr val="accent1"/>
                </a:solidFill>
              </a:rPr>
              <a:t>Негізгі</a:t>
            </a:r>
            <a:r>
              <a:rPr lang="ru-RU" sz="1400" b="1" dirty="0">
                <a:solidFill>
                  <a:schemeClr val="accent1"/>
                </a:solidFill>
              </a:rPr>
              <a:t> </a:t>
            </a:r>
            <a:r>
              <a:rPr lang="ru-RU" sz="1400" b="1" dirty="0" err="1">
                <a:solidFill>
                  <a:schemeClr val="accent1"/>
                </a:solidFill>
              </a:rPr>
              <a:t>қаржылық-экономикалық</a:t>
            </a:r>
            <a:r>
              <a:rPr lang="ru-RU" sz="1400" b="1" dirty="0">
                <a:solidFill>
                  <a:schemeClr val="accent1"/>
                </a:solidFill>
              </a:rPr>
              <a:t> </a:t>
            </a:r>
            <a:r>
              <a:rPr lang="ru-RU" sz="1400" b="1" dirty="0" err="1">
                <a:solidFill>
                  <a:schemeClr val="accent1"/>
                </a:solidFill>
              </a:rPr>
              <a:t>көрсеткіштер</a:t>
            </a:r>
            <a:endParaRPr lang="ru-RU" sz="1400" b="1" dirty="0">
              <a:solidFill>
                <a:schemeClr val="accent1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801868" y="1091338"/>
            <a:ext cx="5191432" cy="2159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err="1">
                <a:solidFill>
                  <a:schemeClr val="accent1"/>
                </a:solidFill>
              </a:rPr>
              <a:t>Көрсетілген</a:t>
            </a:r>
            <a:r>
              <a:rPr lang="ru-RU" sz="1400" b="1" dirty="0">
                <a:solidFill>
                  <a:schemeClr val="accent1"/>
                </a:solidFill>
              </a:rPr>
              <a:t> </a:t>
            </a:r>
            <a:r>
              <a:rPr lang="ru-RU" sz="1400" b="1" dirty="0" err="1">
                <a:solidFill>
                  <a:schemeClr val="accent1"/>
                </a:solidFill>
              </a:rPr>
              <a:t>реттеліп</a:t>
            </a:r>
            <a:r>
              <a:rPr lang="ru-RU" sz="1400" b="1" dirty="0">
                <a:solidFill>
                  <a:schemeClr val="accent1"/>
                </a:solidFill>
              </a:rPr>
              <a:t> </a:t>
            </a:r>
            <a:r>
              <a:rPr lang="ru-RU" sz="1400" b="1" dirty="0" err="1">
                <a:solidFill>
                  <a:schemeClr val="accent1"/>
                </a:solidFill>
              </a:rPr>
              <a:t>көрсетілетін</a:t>
            </a:r>
            <a:r>
              <a:rPr lang="ru-RU" sz="1400" b="1" dirty="0">
                <a:solidFill>
                  <a:schemeClr val="accent1"/>
                </a:solidFill>
              </a:rPr>
              <a:t> </a:t>
            </a:r>
            <a:r>
              <a:rPr lang="ru-RU" sz="1400" b="1" dirty="0" err="1">
                <a:solidFill>
                  <a:schemeClr val="accent1"/>
                </a:solidFill>
              </a:rPr>
              <a:t>қызметтердің</a:t>
            </a:r>
            <a:r>
              <a:rPr lang="ru-RU" sz="1400" b="1" dirty="0">
                <a:solidFill>
                  <a:schemeClr val="accent1"/>
                </a:solidFill>
              </a:rPr>
              <a:t> </a:t>
            </a:r>
            <a:r>
              <a:rPr lang="ru-RU" sz="1400" b="1" dirty="0" err="1">
                <a:solidFill>
                  <a:schemeClr val="accent1"/>
                </a:solidFill>
              </a:rPr>
              <a:t>көлемі</a:t>
            </a:r>
            <a:endParaRPr lang="ru-RU" sz="1400" b="1" dirty="0">
              <a:solidFill>
                <a:schemeClr val="accent1"/>
              </a:solidFill>
            </a:endParaRPr>
          </a:p>
        </p:txBody>
      </p:sp>
      <p:grpSp>
        <p:nvGrpSpPr>
          <p:cNvPr id="37" name="Group 3407"/>
          <p:cNvGrpSpPr/>
          <p:nvPr/>
        </p:nvGrpSpPr>
        <p:grpSpPr>
          <a:xfrm>
            <a:off x="317499" y="973863"/>
            <a:ext cx="369887" cy="369888"/>
            <a:chOff x="6277590" y="1074738"/>
            <a:chExt cx="369887" cy="369888"/>
          </a:xfrm>
          <a:solidFill>
            <a:schemeClr val="tx2"/>
          </a:solidFill>
        </p:grpSpPr>
        <p:sp>
          <p:nvSpPr>
            <p:cNvPr id="38" name="Freeform 2647"/>
            <p:cNvSpPr>
              <a:spLocks noEditPoints="1"/>
            </p:cNvSpPr>
            <p:nvPr/>
          </p:nvSpPr>
          <p:spPr bwMode="auto">
            <a:xfrm>
              <a:off x="6301402" y="1098551"/>
              <a:ext cx="61913" cy="63500"/>
            </a:xfrm>
            <a:custGeom>
              <a:avLst/>
              <a:gdLst>
                <a:gd name="T0" fmla="*/ 24 w 48"/>
                <a:gd name="T1" fmla="*/ 48 h 48"/>
                <a:gd name="T2" fmla="*/ 48 w 48"/>
                <a:gd name="T3" fmla="*/ 24 h 48"/>
                <a:gd name="T4" fmla="*/ 24 w 48"/>
                <a:gd name="T5" fmla="*/ 0 h 48"/>
                <a:gd name="T6" fmla="*/ 0 w 48"/>
                <a:gd name="T7" fmla="*/ 24 h 48"/>
                <a:gd name="T8" fmla="*/ 24 w 48"/>
                <a:gd name="T9" fmla="*/ 48 h 48"/>
                <a:gd name="T10" fmla="*/ 24 w 48"/>
                <a:gd name="T11" fmla="*/ 9 h 48"/>
                <a:gd name="T12" fmla="*/ 39 w 48"/>
                <a:gd name="T13" fmla="*/ 24 h 48"/>
                <a:gd name="T14" fmla="*/ 24 w 48"/>
                <a:gd name="T15" fmla="*/ 39 h 48"/>
                <a:gd name="T16" fmla="*/ 9 w 48"/>
                <a:gd name="T17" fmla="*/ 24 h 48"/>
                <a:gd name="T18" fmla="*/ 24 w 48"/>
                <a:gd name="T19" fmla="*/ 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38" y="48"/>
                    <a:pt x="48" y="37"/>
                    <a:pt x="48" y="24"/>
                  </a:cubicBezTo>
                  <a:cubicBezTo>
                    <a:pt x="48" y="11"/>
                    <a:pt x="38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lose/>
                  <a:moveTo>
                    <a:pt x="24" y="9"/>
                  </a:moveTo>
                  <a:cubicBezTo>
                    <a:pt x="33" y="9"/>
                    <a:pt x="39" y="16"/>
                    <a:pt x="39" y="24"/>
                  </a:cubicBezTo>
                  <a:cubicBezTo>
                    <a:pt x="39" y="32"/>
                    <a:pt x="33" y="39"/>
                    <a:pt x="24" y="39"/>
                  </a:cubicBezTo>
                  <a:cubicBezTo>
                    <a:pt x="16" y="39"/>
                    <a:pt x="9" y="32"/>
                    <a:pt x="9" y="24"/>
                  </a:cubicBezTo>
                  <a:cubicBezTo>
                    <a:pt x="9" y="16"/>
                    <a:pt x="16" y="9"/>
                    <a:pt x="24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648"/>
            <p:cNvSpPr>
              <a:spLocks noEditPoints="1"/>
            </p:cNvSpPr>
            <p:nvPr/>
          </p:nvSpPr>
          <p:spPr bwMode="auto">
            <a:xfrm>
              <a:off x="6277590" y="1328738"/>
              <a:ext cx="88900" cy="88900"/>
            </a:xfrm>
            <a:custGeom>
              <a:avLst/>
              <a:gdLst>
                <a:gd name="T0" fmla="*/ 34 w 68"/>
                <a:gd name="T1" fmla="*/ 0 h 68"/>
                <a:gd name="T2" fmla="*/ 0 w 68"/>
                <a:gd name="T3" fmla="*/ 34 h 68"/>
                <a:gd name="T4" fmla="*/ 34 w 68"/>
                <a:gd name="T5" fmla="*/ 68 h 68"/>
                <a:gd name="T6" fmla="*/ 68 w 68"/>
                <a:gd name="T7" fmla="*/ 34 h 68"/>
                <a:gd name="T8" fmla="*/ 34 w 68"/>
                <a:gd name="T9" fmla="*/ 0 h 68"/>
                <a:gd name="T10" fmla="*/ 34 w 68"/>
                <a:gd name="T11" fmla="*/ 59 h 68"/>
                <a:gd name="T12" fmla="*/ 9 w 68"/>
                <a:gd name="T13" fmla="*/ 34 h 68"/>
                <a:gd name="T14" fmla="*/ 34 w 68"/>
                <a:gd name="T15" fmla="*/ 9 h 68"/>
                <a:gd name="T16" fmla="*/ 59 w 68"/>
                <a:gd name="T17" fmla="*/ 34 h 68"/>
                <a:gd name="T18" fmla="*/ 34 w 68"/>
                <a:gd name="T19" fmla="*/ 5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0"/>
                  </a:moveTo>
                  <a:cubicBezTo>
                    <a:pt x="16" y="0"/>
                    <a:pt x="0" y="16"/>
                    <a:pt x="0" y="34"/>
                  </a:cubicBezTo>
                  <a:cubicBezTo>
                    <a:pt x="0" y="53"/>
                    <a:pt x="16" y="68"/>
                    <a:pt x="34" y="68"/>
                  </a:cubicBezTo>
                  <a:cubicBezTo>
                    <a:pt x="53" y="68"/>
                    <a:pt x="68" y="53"/>
                    <a:pt x="68" y="34"/>
                  </a:cubicBezTo>
                  <a:cubicBezTo>
                    <a:pt x="68" y="16"/>
                    <a:pt x="53" y="0"/>
                    <a:pt x="34" y="0"/>
                  </a:cubicBezTo>
                  <a:close/>
                  <a:moveTo>
                    <a:pt x="34" y="59"/>
                  </a:moveTo>
                  <a:cubicBezTo>
                    <a:pt x="21" y="59"/>
                    <a:pt x="9" y="48"/>
                    <a:pt x="9" y="34"/>
                  </a:cubicBezTo>
                  <a:cubicBezTo>
                    <a:pt x="9" y="21"/>
                    <a:pt x="21" y="9"/>
                    <a:pt x="34" y="9"/>
                  </a:cubicBezTo>
                  <a:cubicBezTo>
                    <a:pt x="48" y="9"/>
                    <a:pt x="59" y="21"/>
                    <a:pt x="59" y="34"/>
                  </a:cubicBezTo>
                  <a:cubicBezTo>
                    <a:pt x="59" y="48"/>
                    <a:pt x="48" y="59"/>
                    <a:pt x="34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649"/>
            <p:cNvSpPr>
              <a:spLocks noEditPoints="1"/>
            </p:cNvSpPr>
            <p:nvPr/>
          </p:nvSpPr>
          <p:spPr bwMode="auto">
            <a:xfrm>
              <a:off x="6533177" y="1328738"/>
              <a:ext cx="114300" cy="115888"/>
            </a:xfrm>
            <a:custGeom>
              <a:avLst/>
              <a:gdLst>
                <a:gd name="T0" fmla="*/ 44 w 88"/>
                <a:gd name="T1" fmla="*/ 0 h 88"/>
                <a:gd name="T2" fmla="*/ 0 w 88"/>
                <a:gd name="T3" fmla="*/ 44 h 88"/>
                <a:gd name="T4" fmla="*/ 44 w 88"/>
                <a:gd name="T5" fmla="*/ 88 h 88"/>
                <a:gd name="T6" fmla="*/ 88 w 88"/>
                <a:gd name="T7" fmla="*/ 44 h 88"/>
                <a:gd name="T8" fmla="*/ 44 w 88"/>
                <a:gd name="T9" fmla="*/ 0 h 88"/>
                <a:gd name="T10" fmla="*/ 44 w 88"/>
                <a:gd name="T11" fmla="*/ 79 h 88"/>
                <a:gd name="T12" fmla="*/ 9 w 88"/>
                <a:gd name="T13" fmla="*/ 44 h 88"/>
                <a:gd name="T14" fmla="*/ 44 w 88"/>
                <a:gd name="T15" fmla="*/ 9 h 88"/>
                <a:gd name="T16" fmla="*/ 79 w 88"/>
                <a:gd name="T17" fmla="*/ 44 h 88"/>
                <a:gd name="T18" fmla="*/ 44 w 88"/>
                <a:gd name="T19" fmla="*/ 7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8">
                  <a:moveTo>
                    <a:pt x="44" y="0"/>
                  </a:move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ubicBezTo>
                    <a:pt x="68" y="88"/>
                    <a:pt x="88" y="68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lose/>
                  <a:moveTo>
                    <a:pt x="44" y="79"/>
                  </a:moveTo>
                  <a:cubicBezTo>
                    <a:pt x="25" y="79"/>
                    <a:pt x="9" y="63"/>
                    <a:pt x="9" y="44"/>
                  </a:cubicBezTo>
                  <a:cubicBezTo>
                    <a:pt x="9" y="25"/>
                    <a:pt x="25" y="9"/>
                    <a:pt x="44" y="9"/>
                  </a:cubicBezTo>
                  <a:cubicBezTo>
                    <a:pt x="63" y="9"/>
                    <a:pt x="79" y="25"/>
                    <a:pt x="79" y="44"/>
                  </a:cubicBezTo>
                  <a:cubicBezTo>
                    <a:pt x="79" y="63"/>
                    <a:pt x="63" y="79"/>
                    <a:pt x="44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650"/>
            <p:cNvSpPr>
              <a:spLocks noEditPoints="1"/>
            </p:cNvSpPr>
            <p:nvPr/>
          </p:nvSpPr>
          <p:spPr bwMode="auto">
            <a:xfrm>
              <a:off x="6558577" y="1074738"/>
              <a:ext cx="88900" cy="88900"/>
            </a:xfrm>
            <a:custGeom>
              <a:avLst/>
              <a:gdLst>
                <a:gd name="T0" fmla="*/ 34 w 68"/>
                <a:gd name="T1" fmla="*/ 68 h 68"/>
                <a:gd name="T2" fmla="*/ 68 w 68"/>
                <a:gd name="T3" fmla="*/ 34 h 68"/>
                <a:gd name="T4" fmla="*/ 34 w 68"/>
                <a:gd name="T5" fmla="*/ 0 h 68"/>
                <a:gd name="T6" fmla="*/ 0 w 68"/>
                <a:gd name="T7" fmla="*/ 34 h 68"/>
                <a:gd name="T8" fmla="*/ 34 w 68"/>
                <a:gd name="T9" fmla="*/ 68 h 68"/>
                <a:gd name="T10" fmla="*/ 34 w 68"/>
                <a:gd name="T11" fmla="*/ 10 h 68"/>
                <a:gd name="T12" fmla="*/ 59 w 68"/>
                <a:gd name="T13" fmla="*/ 34 h 68"/>
                <a:gd name="T14" fmla="*/ 34 w 68"/>
                <a:gd name="T15" fmla="*/ 59 h 68"/>
                <a:gd name="T16" fmla="*/ 9 w 68"/>
                <a:gd name="T17" fmla="*/ 34 h 68"/>
                <a:gd name="T18" fmla="*/ 34 w 68"/>
                <a:gd name="T19" fmla="*/ 1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68"/>
                  </a:moveTo>
                  <a:cubicBezTo>
                    <a:pt x="53" y="68"/>
                    <a:pt x="68" y="53"/>
                    <a:pt x="68" y="34"/>
                  </a:cubicBezTo>
                  <a:cubicBezTo>
                    <a:pt x="68" y="16"/>
                    <a:pt x="53" y="0"/>
                    <a:pt x="34" y="0"/>
                  </a:cubicBezTo>
                  <a:cubicBezTo>
                    <a:pt x="15" y="0"/>
                    <a:pt x="0" y="16"/>
                    <a:pt x="0" y="34"/>
                  </a:cubicBezTo>
                  <a:cubicBezTo>
                    <a:pt x="0" y="53"/>
                    <a:pt x="15" y="68"/>
                    <a:pt x="34" y="68"/>
                  </a:cubicBezTo>
                  <a:close/>
                  <a:moveTo>
                    <a:pt x="34" y="10"/>
                  </a:moveTo>
                  <a:cubicBezTo>
                    <a:pt x="48" y="10"/>
                    <a:pt x="59" y="21"/>
                    <a:pt x="59" y="34"/>
                  </a:cubicBezTo>
                  <a:cubicBezTo>
                    <a:pt x="59" y="48"/>
                    <a:pt x="48" y="59"/>
                    <a:pt x="34" y="59"/>
                  </a:cubicBezTo>
                  <a:cubicBezTo>
                    <a:pt x="20" y="59"/>
                    <a:pt x="9" y="48"/>
                    <a:pt x="9" y="34"/>
                  </a:cubicBezTo>
                  <a:cubicBezTo>
                    <a:pt x="9" y="21"/>
                    <a:pt x="20" y="10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51"/>
            <p:cNvSpPr>
              <a:spLocks/>
            </p:cNvSpPr>
            <p:nvPr/>
          </p:nvSpPr>
          <p:spPr bwMode="auto">
            <a:xfrm>
              <a:off x="6361727" y="1152526"/>
              <a:ext cx="203200" cy="195263"/>
            </a:xfrm>
            <a:custGeom>
              <a:avLst/>
              <a:gdLst>
                <a:gd name="T0" fmla="*/ 108 w 157"/>
                <a:gd name="T1" fmla="*/ 119 h 150"/>
                <a:gd name="T2" fmla="*/ 133 w 157"/>
                <a:gd name="T3" fmla="*/ 144 h 150"/>
                <a:gd name="T4" fmla="*/ 136 w 157"/>
                <a:gd name="T5" fmla="*/ 145 h 150"/>
                <a:gd name="T6" fmla="*/ 139 w 157"/>
                <a:gd name="T7" fmla="*/ 144 h 150"/>
                <a:gd name="T8" fmla="*/ 139 w 157"/>
                <a:gd name="T9" fmla="*/ 138 h 150"/>
                <a:gd name="T10" fmla="*/ 114 w 157"/>
                <a:gd name="T11" fmla="*/ 113 h 150"/>
                <a:gd name="T12" fmla="*/ 129 w 157"/>
                <a:gd name="T13" fmla="*/ 79 h 150"/>
                <a:gd name="T14" fmla="*/ 125 w 157"/>
                <a:gd name="T15" fmla="*/ 74 h 150"/>
                <a:gd name="T16" fmla="*/ 120 w 157"/>
                <a:gd name="T17" fmla="*/ 78 h 150"/>
                <a:gd name="T18" fmla="*/ 66 w 157"/>
                <a:gd name="T19" fmla="*/ 126 h 150"/>
                <a:gd name="T20" fmla="*/ 39 w 157"/>
                <a:gd name="T21" fmla="*/ 119 h 150"/>
                <a:gd name="T22" fmla="*/ 39 w 157"/>
                <a:gd name="T23" fmla="*/ 119 h 150"/>
                <a:gd name="T24" fmla="*/ 37 w 157"/>
                <a:gd name="T25" fmla="*/ 118 h 150"/>
                <a:gd name="T26" fmla="*/ 12 w 157"/>
                <a:gd name="T27" fmla="*/ 72 h 150"/>
                <a:gd name="T28" fmla="*/ 66 w 157"/>
                <a:gd name="T29" fmla="*/ 17 h 150"/>
                <a:gd name="T30" fmla="*/ 117 w 157"/>
                <a:gd name="T31" fmla="*/ 55 h 150"/>
                <a:gd name="T32" fmla="*/ 123 w 157"/>
                <a:gd name="T33" fmla="*/ 58 h 150"/>
                <a:gd name="T34" fmla="*/ 126 w 157"/>
                <a:gd name="T35" fmla="*/ 52 h 150"/>
                <a:gd name="T36" fmla="*/ 122 w 157"/>
                <a:gd name="T37" fmla="*/ 42 h 150"/>
                <a:gd name="T38" fmla="*/ 155 w 157"/>
                <a:gd name="T39" fmla="*/ 9 h 150"/>
                <a:gd name="T40" fmla="*/ 155 w 157"/>
                <a:gd name="T41" fmla="*/ 2 h 150"/>
                <a:gd name="T42" fmla="*/ 149 w 157"/>
                <a:gd name="T43" fmla="*/ 2 h 150"/>
                <a:gd name="T44" fmla="*/ 117 w 157"/>
                <a:gd name="T45" fmla="*/ 34 h 150"/>
                <a:gd name="T46" fmla="*/ 66 w 157"/>
                <a:gd name="T47" fmla="*/ 8 h 150"/>
                <a:gd name="T48" fmla="*/ 25 w 157"/>
                <a:gd name="T49" fmla="*/ 23 h 150"/>
                <a:gd name="T50" fmla="*/ 8 w 157"/>
                <a:gd name="T51" fmla="*/ 7 h 150"/>
                <a:gd name="T52" fmla="*/ 2 w 157"/>
                <a:gd name="T53" fmla="*/ 7 h 150"/>
                <a:gd name="T54" fmla="*/ 2 w 157"/>
                <a:gd name="T55" fmla="*/ 13 h 150"/>
                <a:gd name="T56" fmla="*/ 19 w 157"/>
                <a:gd name="T57" fmla="*/ 30 h 150"/>
                <a:gd name="T58" fmla="*/ 3 w 157"/>
                <a:gd name="T59" fmla="*/ 72 h 150"/>
                <a:gd name="T60" fmla="*/ 28 w 157"/>
                <a:gd name="T61" fmla="*/ 123 h 150"/>
                <a:gd name="T62" fmla="*/ 9 w 157"/>
                <a:gd name="T63" fmla="*/ 142 h 150"/>
                <a:gd name="T64" fmla="*/ 9 w 157"/>
                <a:gd name="T65" fmla="*/ 148 h 150"/>
                <a:gd name="T66" fmla="*/ 12 w 157"/>
                <a:gd name="T67" fmla="*/ 150 h 150"/>
                <a:gd name="T68" fmla="*/ 16 w 157"/>
                <a:gd name="T69" fmla="*/ 148 h 150"/>
                <a:gd name="T70" fmla="*/ 36 w 157"/>
                <a:gd name="T71" fmla="*/ 128 h 150"/>
                <a:gd name="T72" fmla="*/ 66 w 157"/>
                <a:gd name="T73" fmla="*/ 135 h 150"/>
                <a:gd name="T74" fmla="*/ 108 w 157"/>
                <a:gd name="T75" fmla="*/ 11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7" h="150">
                  <a:moveTo>
                    <a:pt x="108" y="119"/>
                  </a:moveTo>
                  <a:cubicBezTo>
                    <a:pt x="133" y="144"/>
                    <a:pt x="133" y="144"/>
                    <a:pt x="133" y="144"/>
                  </a:cubicBezTo>
                  <a:cubicBezTo>
                    <a:pt x="134" y="145"/>
                    <a:pt x="135" y="145"/>
                    <a:pt x="136" y="145"/>
                  </a:cubicBezTo>
                  <a:cubicBezTo>
                    <a:pt x="137" y="145"/>
                    <a:pt x="138" y="145"/>
                    <a:pt x="139" y="144"/>
                  </a:cubicBezTo>
                  <a:cubicBezTo>
                    <a:pt x="141" y="142"/>
                    <a:pt x="141" y="140"/>
                    <a:pt x="139" y="138"/>
                  </a:cubicBezTo>
                  <a:cubicBezTo>
                    <a:pt x="114" y="113"/>
                    <a:pt x="114" y="113"/>
                    <a:pt x="114" y="113"/>
                  </a:cubicBezTo>
                  <a:cubicBezTo>
                    <a:pt x="122" y="103"/>
                    <a:pt x="127" y="92"/>
                    <a:pt x="129" y="79"/>
                  </a:cubicBezTo>
                  <a:cubicBezTo>
                    <a:pt x="129" y="77"/>
                    <a:pt x="127" y="75"/>
                    <a:pt x="125" y="74"/>
                  </a:cubicBezTo>
                  <a:cubicBezTo>
                    <a:pt x="122" y="74"/>
                    <a:pt x="120" y="76"/>
                    <a:pt x="120" y="78"/>
                  </a:cubicBezTo>
                  <a:cubicBezTo>
                    <a:pt x="116" y="106"/>
                    <a:pt x="93" y="126"/>
                    <a:pt x="66" y="126"/>
                  </a:cubicBezTo>
                  <a:cubicBezTo>
                    <a:pt x="56" y="126"/>
                    <a:pt x="47" y="124"/>
                    <a:pt x="39" y="119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8" y="118"/>
                    <a:pt x="38" y="118"/>
                    <a:pt x="37" y="118"/>
                  </a:cubicBezTo>
                  <a:cubicBezTo>
                    <a:pt x="22" y="108"/>
                    <a:pt x="12" y="91"/>
                    <a:pt x="12" y="72"/>
                  </a:cubicBezTo>
                  <a:cubicBezTo>
                    <a:pt x="12" y="42"/>
                    <a:pt x="36" y="17"/>
                    <a:pt x="66" y="17"/>
                  </a:cubicBezTo>
                  <a:cubicBezTo>
                    <a:pt x="89" y="17"/>
                    <a:pt x="110" y="32"/>
                    <a:pt x="117" y="55"/>
                  </a:cubicBezTo>
                  <a:cubicBezTo>
                    <a:pt x="118" y="57"/>
                    <a:pt x="121" y="58"/>
                    <a:pt x="123" y="58"/>
                  </a:cubicBezTo>
                  <a:cubicBezTo>
                    <a:pt x="125" y="57"/>
                    <a:pt x="127" y="54"/>
                    <a:pt x="126" y="52"/>
                  </a:cubicBezTo>
                  <a:cubicBezTo>
                    <a:pt x="125" y="49"/>
                    <a:pt x="123" y="45"/>
                    <a:pt x="122" y="42"/>
                  </a:cubicBezTo>
                  <a:cubicBezTo>
                    <a:pt x="155" y="9"/>
                    <a:pt x="155" y="9"/>
                    <a:pt x="155" y="9"/>
                  </a:cubicBezTo>
                  <a:cubicBezTo>
                    <a:pt x="157" y="7"/>
                    <a:pt x="157" y="4"/>
                    <a:pt x="155" y="2"/>
                  </a:cubicBezTo>
                  <a:cubicBezTo>
                    <a:pt x="154" y="0"/>
                    <a:pt x="151" y="0"/>
                    <a:pt x="149" y="2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05" y="18"/>
                    <a:pt x="86" y="8"/>
                    <a:pt x="66" y="8"/>
                  </a:cubicBezTo>
                  <a:cubicBezTo>
                    <a:pt x="50" y="8"/>
                    <a:pt x="36" y="14"/>
                    <a:pt x="25" y="23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5"/>
                    <a:pt x="4" y="5"/>
                    <a:pt x="2" y="7"/>
                  </a:cubicBezTo>
                  <a:cubicBezTo>
                    <a:pt x="0" y="8"/>
                    <a:pt x="0" y="11"/>
                    <a:pt x="2" y="1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9" y="41"/>
                    <a:pt x="3" y="56"/>
                    <a:pt x="3" y="72"/>
                  </a:cubicBezTo>
                  <a:cubicBezTo>
                    <a:pt x="3" y="93"/>
                    <a:pt x="13" y="111"/>
                    <a:pt x="28" y="123"/>
                  </a:cubicBezTo>
                  <a:cubicBezTo>
                    <a:pt x="9" y="142"/>
                    <a:pt x="9" y="142"/>
                    <a:pt x="9" y="142"/>
                  </a:cubicBezTo>
                  <a:cubicBezTo>
                    <a:pt x="8" y="144"/>
                    <a:pt x="8" y="147"/>
                    <a:pt x="9" y="148"/>
                  </a:cubicBezTo>
                  <a:cubicBezTo>
                    <a:pt x="10" y="149"/>
                    <a:pt x="11" y="150"/>
                    <a:pt x="12" y="150"/>
                  </a:cubicBezTo>
                  <a:cubicBezTo>
                    <a:pt x="14" y="150"/>
                    <a:pt x="15" y="149"/>
                    <a:pt x="16" y="148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5" y="133"/>
                    <a:pt x="55" y="135"/>
                    <a:pt x="66" y="135"/>
                  </a:cubicBezTo>
                  <a:cubicBezTo>
                    <a:pt x="82" y="135"/>
                    <a:pt x="97" y="129"/>
                    <a:pt x="108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52"/>
            <p:cNvSpPr>
              <a:spLocks noEditPoints="1"/>
            </p:cNvSpPr>
            <p:nvPr/>
          </p:nvSpPr>
          <p:spPr bwMode="auto">
            <a:xfrm>
              <a:off x="6422052" y="1201738"/>
              <a:ext cx="49213" cy="87313"/>
            </a:xfrm>
            <a:custGeom>
              <a:avLst/>
              <a:gdLst>
                <a:gd name="T0" fmla="*/ 21 w 37"/>
                <a:gd name="T1" fmla="*/ 67 h 67"/>
                <a:gd name="T2" fmla="*/ 21 w 37"/>
                <a:gd name="T3" fmla="*/ 57 h 67"/>
                <a:gd name="T4" fmla="*/ 33 w 37"/>
                <a:gd name="T5" fmla="*/ 53 h 67"/>
                <a:gd name="T6" fmla="*/ 37 w 37"/>
                <a:gd name="T7" fmla="*/ 43 h 67"/>
                <a:gd name="T8" fmla="*/ 37 w 37"/>
                <a:gd name="T9" fmla="*/ 40 h 67"/>
                <a:gd name="T10" fmla="*/ 34 w 37"/>
                <a:gd name="T11" fmla="*/ 31 h 67"/>
                <a:gd name="T12" fmla="*/ 23 w 37"/>
                <a:gd name="T13" fmla="*/ 28 h 67"/>
                <a:gd name="T14" fmla="*/ 21 w 37"/>
                <a:gd name="T15" fmla="*/ 28 h 67"/>
                <a:gd name="T16" fmla="*/ 21 w 37"/>
                <a:gd name="T17" fmla="*/ 11 h 67"/>
                <a:gd name="T18" fmla="*/ 34 w 37"/>
                <a:gd name="T19" fmla="*/ 12 h 67"/>
                <a:gd name="T20" fmla="*/ 34 w 37"/>
                <a:gd name="T21" fmla="*/ 7 h 67"/>
                <a:gd name="T22" fmla="*/ 21 w 37"/>
                <a:gd name="T23" fmla="*/ 6 h 67"/>
                <a:gd name="T24" fmla="*/ 21 w 37"/>
                <a:gd name="T25" fmla="*/ 0 h 67"/>
                <a:gd name="T26" fmla="*/ 16 w 37"/>
                <a:gd name="T27" fmla="*/ 0 h 67"/>
                <a:gd name="T28" fmla="*/ 16 w 37"/>
                <a:gd name="T29" fmla="*/ 6 h 67"/>
                <a:gd name="T30" fmla="*/ 4 w 37"/>
                <a:gd name="T31" fmla="*/ 9 h 67"/>
                <a:gd name="T32" fmla="*/ 0 w 37"/>
                <a:gd name="T33" fmla="*/ 18 h 67"/>
                <a:gd name="T34" fmla="*/ 0 w 37"/>
                <a:gd name="T35" fmla="*/ 21 h 67"/>
                <a:gd name="T36" fmla="*/ 3 w 37"/>
                <a:gd name="T37" fmla="*/ 30 h 67"/>
                <a:gd name="T38" fmla="*/ 14 w 37"/>
                <a:gd name="T39" fmla="*/ 33 h 67"/>
                <a:gd name="T40" fmla="*/ 16 w 37"/>
                <a:gd name="T41" fmla="*/ 33 h 67"/>
                <a:gd name="T42" fmla="*/ 16 w 37"/>
                <a:gd name="T43" fmla="*/ 51 h 67"/>
                <a:gd name="T44" fmla="*/ 12 w 37"/>
                <a:gd name="T45" fmla="*/ 51 h 67"/>
                <a:gd name="T46" fmla="*/ 8 w 37"/>
                <a:gd name="T47" fmla="*/ 51 h 67"/>
                <a:gd name="T48" fmla="*/ 4 w 37"/>
                <a:gd name="T49" fmla="*/ 50 h 67"/>
                <a:gd name="T50" fmla="*/ 1 w 37"/>
                <a:gd name="T51" fmla="*/ 50 h 67"/>
                <a:gd name="T52" fmla="*/ 1 w 37"/>
                <a:gd name="T53" fmla="*/ 56 h 67"/>
                <a:gd name="T54" fmla="*/ 16 w 37"/>
                <a:gd name="T55" fmla="*/ 57 h 67"/>
                <a:gd name="T56" fmla="*/ 16 w 37"/>
                <a:gd name="T57" fmla="*/ 67 h 67"/>
                <a:gd name="T58" fmla="*/ 21 w 37"/>
                <a:gd name="T59" fmla="*/ 67 h 67"/>
                <a:gd name="T60" fmla="*/ 21 w 37"/>
                <a:gd name="T61" fmla="*/ 33 h 67"/>
                <a:gd name="T62" fmla="*/ 28 w 37"/>
                <a:gd name="T63" fmla="*/ 35 h 67"/>
                <a:gd name="T64" fmla="*/ 29 w 37"/>
                <a:gd name="T65" fmla="*/ 39 h 67"/>
                <a:gd name="T66" fmla="*/ 29 w 37"/>
                <a:gd name="T67" fmla="*/ 45 h 67"/>
                <a:gd name="T68" fmla="*/ 27 w 37"/>
                <a:gd name="T69" fmla="*/ 50 h 67"/>
                <a:gd name="T70" fmla="*/ 21 w 37"/>
                <a:gd name="T71" fmla="*/ 51 h 67"/>
                <a:gd name="T72" fmla="*/ 21 w 37"/>
                <a:gd name="T73" fmla="*/ 33 h 67"/>
                <a:gd name="T74" fmla="*/ 10 w 37"/>
                <a:gd name="T75" fmla="*/ 26 h 67"/>
                <a:gd name="T76" fmla="*/ 8 w 37"/>
                <a:gd name="T77" fmla="*/ 23 h 67"/>
                <a:gd name="T78" fmla="*/ 8 w 37"/>
                <a:gd name="T79" fmla="*/ 18 h 67"/>
                <a:gd name="T80" fmla="*/ 9 w 37"/>
                <a:gd name="T81" fmla="*/ 13 h 67"/>
                <a:gd name="T82" fmla="*/ 16 w 37"/>
                <a:gd name="T83" fmla="*/ 11 h 67"/>
                <a:gd name="T84" fmla="*/ 16 w 37"/>
                <a:gd name="T85" fmla="*/ 28 h 67"/>
                <a:gd name="T86" fmla="*/ 10 w 37"/>
                <a:gd name="T87" fmla="*/ 2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7" h="67">
                  <a:moveTo>
                    <a:pt x="21" y="67"/>
                  </a:moveTo>
                  <a:cubicBezTo>
                    <a:pt x="21" y="57"/>
                    <a:pt x="21" y="57"/>
                    <a:pt x="21" y="57"/>
                  </a:cubicBezTo>
                  <a:cubicBezTo>
                    <a:pt x="26" y="57"/>
                    <a:pt x="30" y="55"/>
                    <a:pt x="33" y="53"/>
                  </a:cubicBezTo>
                  <a:cubicBezTo>
                    <a:pt x="36" y="51"/>
                    <a:pt x="37" y="47"/>
                    <a:pt x="37" y="43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36"/>
                    <a:pt x="36" y="32"/>
                    <a:pt x="34" y="31"/>
                  </a:cubicBezTo>
                  <a:cubicBezTo>
                    <a:pt x="32" y="29"/>
                    <a:pt x="29" y="28"/>
                    <a:pt x="23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3" y="11"/>
                    <a:pt x="27" y="12"/>
                    <a:pt x="34" y="12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29" y="6"/>
                    <a:pt x="24" y="6"/>
                    <a:pt x="21" y="6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0" y="6"/>
                    <a:pt x="6" y="7"/>
                    <a:pt x="4" y="9"/>
                  </a:cubicBezTo>
                  <a:cubicBezTo>
                    <a:pt x="2" y="11"/>
                    <a:pt x="0" y="14"/>
                    <a:pt x="0" y="18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5"/>
                    <a:pt x="1" y="28"/>
                    <a:pt x="3" y="30"/>
                  </a:cubicBezTo>
                  <a:cubicBezTo>
                    <a:pt x="5" y="32"/>
                    <a:pt x="9" y="33"/>
                    <a:pt x="14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5" y="51"/>
                    <a:pt x="13" y="51"/>
                    <a:pt x="12" y="51"/>
                  </a:cubicBezTo>
                  <a:cubicBezTo>
                    <a:pt x="10" y="51"/>
                    <a:pt x="9" y="51"/>
                    <a:pt x="8" y="51"/>
                  </a:cubicBezTo>
                  <a:cubicBezTo>
                    <a:pt x="7" y="51"/>
                    <a:pt x="6" y="50"/>
                    <a:pt x="4" y="50"/>
                  </a:cubicBezTo>
                  <a:cubicBezTo>
                    <a:pt x="2" y="50"/>
                    <a:pt x="1" y="50"/>
                    <a:pt x="1" y="50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8" y="57"/>
                    <a:pt x="13" y="57"/>
                    <a:pt x="16" y="57"/>
                  </a:cubicBezTo>
                  <a:cubicBezTo>
                    <a:pt x="16" y="67"/>
                    <a:pt x="16" y="67"/>
                    <a:pt x="16" y="67"/>
                  </a:cubicBezTo>
                  <a:lnTo>
                    <a:pt x="21" y="67"/>
                  </a:lnTo>
                  <a:close/>
                  <a:moveTo>
                    <a:pt x="21" y="33"/>
                  </a:moveTo>
                  <a:cubicBezTo>
                    <a:pt x="24" y="33"/>
                    <a:pt x="26" y="34"/>
                    <a:pt x="28" y="35"/>
                  </a:cubicBezTo>
                  <a:cubicBezTo>
                    <a:pt x="29" y="36"/>
                    <a:pt x="29" y="37"/>
                    <a:pt x="29" y="39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9" y="47"/>
                    <a:pt x="29" y="49"/>
                    <a:pt x="27" y="50"/>
                  </a:cubicBezTo>
                  <a:cubicBezTo>
                    <a:pt x="26" y="50"/>
                    <a:pt x="24" y="51"/>
                    <a:pt x="21" y="51"/>
                  </a:cubicBezTo>
                  <a:lnTo>
                    <a:pt x="21" y="33"/>
                  </a:lnTo>
                  <a:close/>
                  <a:moveTo>
                    <a:pt x="10" y="26"/>
                  </a:moveTo>
                  <a:cubicBezTo>
                    <a:pt x="8" y="26"/>
                    <a:pt x="8" y="24"/>
                    <a:pt x="8" y="23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5"/>
                    <a:pt x="8" y="14"/>
                    <a:pt x="9" y="13"/>
                  </a:cubicBezTo>
                  <a:cubicBezTo>
                    <a:pt x="11" y="12"/>
                    <a:pt x="13" y="11"/>
                    <a:pt x="16" y="11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3" y="28"/>
                    <a:pt x="11" y="27"/>
                    <a:pt x="10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" name="Group 488"/>
          <p:cNvGrpSpPr/>
          <p:nvPr/>
        </p:nvGrpSpPr>
        <p:grpSpPr>
          <a:xfrm>
            <a:off x="6388918" y="973862"/>
            <a:ext cx="346845" cy="327457"/>
            <a:chOff x="-2103438" y="3878264"/>
            <a:chExt cx="371475" cy="371475"/>
          </a:xfrm>
          <a:solidFill>
            <a:schemeClr val="tx2"/>
          </a:solidFill>
        </p:grpSpPr>
        <p:sp>
          <p:nvSpPr>
            <p:cNvPr id="52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317499" y="1343750"/>
            <a:ext cx="5472000" cy="0"/>
          </a:xfrm>
          <a:prstGeom prst="lin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4" name="Прямая соединительная линия 63"/>
          <p:cNvCxnSpPr/>
          <p:nvPr/>
        </p:nvCxnSpPr>
        <p:spPr>
          <a:xfrm>
            <a:off x="6388918" y="1343750"/>
            <a:ext cx="5472000" cy="0"/>
          </a:xfrm>
          <a:prstGeom prst="lin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aphicFrame>
        <p:nvGraphicFramePr>
          <p:cNvPr id="67" name="Chart 3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60359697"/>
              </p:ext>
            </p:extLst>
          </p:nvPr>
        </p:nvGraphicFramePr>
        <p:xfrm>
          <a:off x="2141538" y="3598863"/>
          <a:ext cx="1755775" cy="939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88" name="TextBox 87"/>
          <p:cNvSpPr txBox="1"/>
          <p:nvPr/>
        </p:nvSpPr>
        <p:spPr>
          <a:xfrm>
            <a:off x="6400232" y="1464767"/>
            <a:ext cx="5460686" cy="374009"/>
          </a:xfrm>
          <a:prstGeom prst="rect">
            <a:avLst/>
          </a:prstGeom>
        </p:spPr>
        <p:txBody>
          <a:bodyPr vert="horz" wrap="square" lIns="36000" tIns="72000" rIns="36000" bIns="72000" rtlCol="0" anchor="t" anchorCtr="0">
            <a:noAutofit/>
          </a:bodyPr>
          <a:lstStyle/>
          <a:p>
            <a:pPr marL="180000" indent="-180000">
              <a:spcAft>
                <a:spcPts val="300"/>
              </a:spcAft>
              <a:buClr>
                <a:srgbClr val="F0720A"/>
              </a:buClr>
              <a:buFont typeface="Arial" panose="020B0604020202020204" pitchFamily="34" charset="0"/>
              <a:buChar char="•"/>
            </a:pPr>
            <a:r>
              <a:rPr lang="ru-RU" sz="1200" dirty="0"/>
              <a:t>2025 </a:t>
            </a:r>
            <a:r>
              <a:rPr lang="ru-RU" sz="1200" dirty="0" err="1"/>
              <a:t>жылға</a:t>
            </a:r>
            <a:r>
              <a:rPr lang="ru-RU" sz="1200" dirty="0"/>
              <a:t> </a:t>
            </a:r>
            <a:r>
              <a:rPr lang="ru-RU" sz="1200" dirty="0" err="1"/>
              <a:t>көрсетілген</a:t>
            </a:r>
            <a:r>
              <a:rPr lang="ru-RU" sz="1200" dirty="0"/>
              <a:t> </a:t>
            </a:r>
            <a:r>
              <a:rPr lang="ru-RU" sz="1200" dirty="0" err="1"/>
              <a:t>қызметтер</a:t>
            </a:r>
            <a:r>
              <a:rPr lang="ru-RU" sz="1200" dirty="0"/>
              <a:t> </a:t>
            </a:r>
            <a:r>
              <a:rPr lang="ru-RU" sz="1200" dirty="0" err="1"/>
              <a:t>көлемі</a:t>
            </a:r>
            <a:r>
              <a:rPr lang="ru-RU" sz="1200" dirty="0"/>
              <a:t> </a:t>
            </a:r>
            <a:r>
              <a:rPr lang="ru-RU" sz="1200" b="1" dirty="0" smtClean="0">
                <a:solidFill>
                  <a:schemeClr val="accent1"/>
                </a:solidFill>
              </a:rPr>
              <a:t>43 058 </a:t>
            </a:r>
            <a:r>
              <a:rPr lang="ru-RU" sz="1200" b="0" dirty="0" smtClean="0">
                <a:solidFill>
                  <a:schemeClr val="accent1"/>
                </a:solidFill>
              </a:rPr>
              <a:t>Гкал</a:t>
            </a:r>
          </a:p>
        </p:txBody>
      </p:sp>
      <p:graphicFrame>
        <p:nvGraphicFramePr>
          <p:cNvPr id="146" name="Chart 3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067179986"/>
              </p:ext>
            </p:extLst>
          </p:nvPr>
        </p:nvGraphicFramePr>
        <p:xfrm>
          <a:off x="7621588" y="2274888"/>
          <a:ext cx="2838450" cy="2838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26" name="Прямоугольник 25"/>
          <p:cNvSpPr/>
          <p:nvPr>
            <p:custDataLst>
              <p:tags r:id="rId11"/>
            </p:custDataLst>
          </p:nvPr>
        </p:nvSpPr>
        <p:spPr bwMode="gray">
          <a:xfrm>
            <a:off x="8739188" y="2722562"/>
            <a:ext cx="273050" cy="247650"/>
          </a:xfrm>
          <a:prstGeom prst="rect">
            <a:avLst/>
          </a:prstGeom>
          <a:solidFill>
            <a:srgbClr val="DFE5E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B564EF2-0E9F-4480-94A3-CE6FA85FF10E}" type="datetime'1''''''''''''''''''''''''''''''''''2''''''''''''''''''2'''">
              <a:rPr lang="ru-RU" altLang="en-US" sz="900" smtClean="0">
                <a:solidFill>
                  <a:schemeClr val="tx1"/>
                </a:solidFill>
              </a:rPr>
              <a:pPr/>
              <a:t>122</a:t>
            </a:fld>
            <a:r>
              <a:rPr lang="ru-RU" altLang="en-US" sz="900" dirty="0" smtClean="0">
                <a:solidFill>
                  <a:schemeClr val="tx1"/>
                </a:solidFill>
              </a:rPr>
              <a:t/>
            </a:r>
            <a:br>
              <a:rPr lang="ru-RU" altLang="en-US" sz="900" dirty="0" smtClean="0">
                <a:solidFill>
                  <a:schemeClr val="tx1"/>
                </a:solidFill>
              </a:rPr>
            </a:br>
            <a:r>
              <a:rPr lang="ru-RU" altLang="en-US" sz="900" dirty="0" smtClean="0">
                <a:solidFill>
                  <a:schemeClr val="tx1"/>
                </a:solidFill>
              </a:rPr>
              <a:t>(</a:t>
            </a:r>
            <a:fld id="{0D701569-8F81-41A5-B91D-F96F5AED73F3}" type="datetime'''''''''0''''''''''''%'''''''''''''''''''''''''''''''''''">
              <a:rPr lang="ru-RU" altLang="en-US" sz="900" smtClean="0">
                <a:solidFill>
                  <a:schemeClr val="tx1"/>
                </a:solidFill>
              </a:rPr>
              <a:pPr/>
              <a:t>0%</a:t>
            </a:fld>
            <a:r>
              <a:rPr lang="ru-RU" altLang="en-US" sz="900" dirty="0" smtClean="0">
                <a:solidFill>
                  <a:schemeClr val="tx1"/>
                </a:solidFill>
              </a:rPr>
              <a:t>)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3" name="Прямоугольник 82"/>
          <p:cNvSpPr/>
          <p:nvPr>
            <p:custDataLst>
              <p:tags r:id="rId12"/>
            </p:custDataLst>
          </p:nvPr>
        </p:nvSpPr>
        <p:spPr bwMode="gray">
          <a:xfrm>
            <a:off x="9934575" y="3856037"/>
            <a:ext cx="3810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91FFEC3-98F5-4B43-A5A1-868698527E4D}" type="datetime'''''2''''5'' ''''''''0''''''6''''''''''''''''''9'''''">
              <a:rPr lang="ru-RU" altLang="en-US" sz="900" smtClean="0">
                <a:solidFill>
                  <a:schemeClr val="bg1"/>
                </a:solidFill>
              </a:rPr>
              <a:pPr/>
              <a:t>25 069</a:t>
            </a:fld>
            <a:r>
              <a:rPr lang="ru-RU" altLang="en-US" sz="900" dirty="0" smtClean="0">
                <a:solidFill>
                  <a:schemeClr val="bg1"/>
                </a:solidFill>
              </a:rPr>
              <a:t/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fld id="{B392DE3F-9960-44E8-8BFB-8E304DC1F69C}" type="datetime'''''''5''''''''''''''''''''8''''''%'''''''''''''''''">
              <a:rPr lang="ru-RU" altLang="en-US" sz="900" smtClean="0">
                <a:solidFill>
                  <a:schemeClr val="bg1"/>
                </a:solidFill>
              </a:rPr>
              <a:pPr/>
              <a:t>58%</a:t>
            </a:fld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93" name="Прямоугольник 92"/>
          <p:cNvSpPr/>
          <p:nvPr>
            <p:custDataLst>
              <p:tags r:id="rId13"/>
            </p:custDataLst>
          </p:nvPr>
        </p:nvSpPr>
        <p:spPr bwMode="gray">
          <a:xfrm>
            <a:off x="8121650" y="4414837"/>
            <a:ext cx="3175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5232F7D-7014-44BB-AF13-F832462BC99D}" type="datetime'''''''''''''2'''''''''''''''' ''''9''''''''7''4'''''''''''''''">
              <a:rPr lang="ru-RU" altLang="en-US" sz="900" smtClean="0">
                <a:solidFill>
                  <a:schemeClr val="bg1"/>
                </a:solidFill>
              </a:rPr>
              <a:pPr/>
              <a:t>2 974</a:t>
            </a:fld>
            <a:r>
              <a:rPr lang="ru-RU" altLang="en-US" sz="900" dirty="0" smtClean="0">
                <a:solidFill>
                  <a:schemeClr val="bg1"/>
                </a:solidFill>
              </a:rPr>
              <a:t/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fld id="{AEE20083-3B53-4B38-AAB2-769D6E37CE42}" type="datetime'''''''''''''7''''''''''''''''''''''''''''%'''''">
              <a:rPr lang="ru-RU" altLang="en-US" sz="900" smtClean="0">
                <a:solidFill>
                  <a:schemeClr val="bg1"/>
                </a:solidFill>
              </a:rPr>
              <a:pPr/>
              <a:t>7%</a:t>
            </a:fld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96" name="Прямоугольник 95"/>
          <p:cNvSpPr/>
          <p:nvPr>
            <p:custDataLst>
              <p:tags r:id="rId14"/>
            </p:custDataLst>
          </p:nvPr>
        </p:nvSpPr>
        <p:spPr bwMode="gray">
          <a:xfrm>
            <a:off x="7926388" y="4167187"/>
            <a:ext cx="273050" cy="247650"/>
          </a:xfrm>
          <a:prstGeom prst="rect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78869C3-9B28-441D-9DFA-0FEEB7C683F7}" type="datetime'''''9''9''0'''''''''''">
              <a:rPr lang="ru-RU" altLang="en-US" sz="900" smtClean="0">
                <a:solidFill>
                  <a:schemeClr val="tx1"/>
                </a:solidFill>
              </a:rPr>
              <a:pPr/>
              <a:t>990</a:t>
            </a:fld>
            <a:r>
              <a:rPr lang="ru-RU" altLang="en-US" sz="900" dirty="0" smtClean="0">
                <a:solidFill>
                  <a:schemeClr val="tx1"/>
                </a:solidFill>
              </a:rPr>
              <a:t/>
            </a:r>
            <a:br>
              <a:rPr lang="ru-RU" altLang="en-US" sz="900" dirty="0" smtClean="0">
                <a:solidFill>
                  <a:schemeClr val="tx1"/>
                </a:solidFill>
              </a:rPr>
            </a:br>
            <a:r>
              <a:rPr lang="ru-RU" altLang="en-US" sz="900" dirty="0" smtClean="0">
                <a:solidFill>
                  <a:schemeClr val="tx1"/>
                </a:solidFill>
              </a:rPr>
              <a:t>(</a:t>
            </a:r>
            <a:fld id="{00669B25-250F-450D-AE1D-FE64D9842B7E}" type="datetime'''''''''''''2''''''''''''%'''''''''">
              <a:rPr lang="ru-RU" altLang="en-US" sz="900" smtClean="0">
                <a:solidFill>
                  <a:schemeClr val="tx1"/>
                </a:solidFill>
              </a:rPr>
              <a:pPr/>
              <a:t>2%</a:t>
            </a:fld>
            <a:r>
              <a:rPr lang="ru-RU" altLang="en-US" sz="900" dirty="0" smtClean="0">
                <a:solidFill>
                  <a:schemeClr val="tx1"/>
                </a:solidFill>
              </a:rPr>
              <a:t>)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00" name="Прямоугольник 99"/>
          <p:cNvSpPr/>
          <p:nvPr>
            <p:custDataLst>
              <p:tags r:id="rId15"/>
            </p:custDataLst>
          </p:nvPr>
        </p:nvSpPr>
        <p:spPr bwMode="gray">
          <a:xfrm>
            <a:off x="7789863" y="3217862"/>
            <a:ext cx="3810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5584FBD-40F8-4FD6-BCEB-6E4C546719A5}" type="datetime'''''''''''''''''1''''''''''''''0'''''''' ''''9''1''''2'">
              <a:rPr lang="ru-RU" altLang="en-US" sz="900" smtClean="0">
                <a:solidFill>
                  <a:schemeClr val="bg1"/>
                </a:solidFill>
              </a:rPr>
              <a:pPr/>
              <a:t>10 912</a:t>
            </a:fld>
            <a:r>
              <a:rPr lang="ru-RU" altLang="en-US" sz="900" dirty="0" smtClean="0">
                <a:solidFill>
                  <a:schemeClr val="bg1"/>
                </a:solidFill>
              </a:rPr>
              <a:t/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fld id="{3B499D59-26D3-40CD-878D-39891DAFDF99}" type="datetime'''2''''''''''''''''''''''''''''''5%'''''''''''''">
              <a:rPr lang="ru-RU" altLang="en-US" sz="900" smtClean="0">
                <a:solidFill>
                  <a:schemeClr val="bg1"/>
                </a:solidFill>
              </a:rPr>
              <a:pPr/>
              <a:t>25%</a:t>
            </a:fld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23" name="Прямоугольник 122"/>
          <p:cNvSpPr/>
          <p:nvPr>
            <p:custDataLst>
              <p:tags r:id="rId16"/>
            </p:custDataLst>
          </p:nvPr>
        </p:nvSpPr>
        <p:spPr bwMode="gray">
          <a:xfrm>
            <a:off x="8510588" y="2474912"/>
            <a:ext cx="317500" cy="247650"/>
          </a:xfrm>
          <a:prstGeom prst="rect">
            <a:avLst/>
          </a:prstGeom>
          <a:solidFill>
            <a:srgbClr val="4C6C9C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2226A8E-235D-41AD-A8A2-666B0052AEB0}" type="datetime'''''''''''1'''''''''''' ''''''''73''''8'''">
              <a:rPr lang="ru-RU" altLang="en-US" sz="900" smtClean="0">
                <a:solidFill>
                  <a:schemeClr val="bg1"/>
                </a:solidFill>
              </a:rPr>
              <a:pPr/>
              <a:t>1 738</a:t>
            </a:fld>
            <a:r>
              <a:rPr lang="ru-RU" altLang="en-US" sz="900" dirty="0" smtClean="0">
                <a:solidFill>
                  <a:schemeClr val="bg1"/>
                </a:solidFill>
              </a:rPr>
              <a:t/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fld id="{7B29D0D3-E1EC-4BBA-AAD9-F7530637DC77}" type="datetime'''''''''4''''%'''''''''''''''">
              <a:rPr lang="ru-RU" altLang="en-US" sz="900" smtClean="0">
                <a:solidFill>
                  <a:schemeClr val="bg1"/>
                </a:solidFill>
              </a:rPr>
              <a:pPr/>
              <a:t>4%</a:t>
            </a:fld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26" name="Прямоугольник 125"/>
          <p:cNvSpPr/>
          <p:nvPr>
            <p:custDataLst>
              <p:tags r:id="rId17"/>
            </p:custDataLst>
          </p:nvPr>
        </p:nvSpPr>
        <p:spPr bwMode="gray">
          <a:xfrm>
            <a:off x="8826500" y="2970213"/>
            <a:ext cx="317500" cy="24765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64A23EE-91DA-4944-A2BB-4F01572F1850}" type="datetime'''1'''''''''''''''''''''' ''''''25''''3'''''''''''''">
              <a:rPr lang="ru-RU" altLang="en-US" sz="900" smtClean="0">
                <a:solidFill>
                  <a:schemeClr val="bg1"/>
                </a:solidFill>
              </a:rPr>
              <a:pPr/>
              <a:t>1 253</a:t>
            </a:fld>
            <a:r>
              <a:rPr lang="ru-RU" altLang="en-US" sz="900" dirty="0" smtClean="0">
                <a:solidFill>
                  <a:schemeClr val="bg1"/>
                </a:solidFill>
              </a:rPr>
              <a:t/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fld id="{1E9F9692-8A93-461E-9863-9E11D58C1457}" type="datetime'''''''''''''''''''3''''''''''''''''''%'''''''''''''''''''">
              <a:rPr lang="ru-RU" altLang="en-US" sz="900" smtClean="0">
                <a:solidFill>
                  <a:schemeClr val="bg1"/>
                </a:solidFill>
              </a:rPr>
              <a:pPr/>
              <a:t>3%</a:t>
            </a:fld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66" name="Прямоугольник 65"/>
          <p:cNvSpPr/>
          <p:nvPr>
            <p:custDataLst>
              <p:tags r:id="rId18"/>
            </p:custDataLst>
          </p:nvPr>
        </p:nvSpPr>
        <p:spPr bwMode="auto">
          <a:xfrm>
            <a:off x="6665913" y="2301875"/>
            <a:ext cx="189706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>
                <a:solidFill>
                  <a:schemeClr val="tx1"/>
                </a:solidFill>
              </a:rPr>
              <a:t>"ТЕМІРЖОЛСУ-ПАВЛОДАР" ЖШС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19"/>
            </p:custDataLst>
          </p:nvPr>
        </p:nvSpPr>
        <p:spPr bwMode="auto">
          <a:xfrm>
            <a:off x="10390188" y="3994150"/>
            <a:ext cx="149542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>
                <a:solidFill>
                  <a:schemeClr val="tx1"/>
                </a:solidFill>
              </a:rPr>
              <a:t>"ТЕПЛОСЕРВИС-</a:t>
            </a:r>
            <a:r>
              <a:rPr lang="ru-RU" altLang="en-US" sz="900" dirty="0" err="1">
                <a:solidFill>
                  <a:schemeClr val="tx1"/>
                </a:solidFill>
              </a:rPr>
              <a:t>Ақсу</a:t>
            </a:r>
            <a:r>
              <a:rPr lang="ru-RU" altLang="en-US" sz="900" dirty="0">
                <a:solidFill>
                  <a:schemeClr val="tx1"/>
                </a:solidFill>
              </a:rPr>
              <a:t>" КМК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30" name="Прямоугольник 29"/>
          <p:cNvSpPr/>
          <p:nvPr>
            <p:custDataLst>
              <p:tags r:id="rId20"/>
            </p:custDataLst>
          </p:nvPr>
        </p:nvSpPr>
        <p:spPr bwMode="auto">
          <a:xfrm>
            <a:off x="7059613" y="4708525"/>
            <a:ext cx="106521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>
                <a:solidFill>
                  <a:schemeClr val="tx1"/>
                </a:solidFill>
              </a:rPr>
              <a:t>"</a:t>
            </a:r>
            <a:r>
              <a:rPr lang="ru-RU" altLang="en-US" sz="900" dirty="0" smtClean="0">
                <a:solidFill>
                  <a:schemeClr val="tx1"/>
                </a:solidFill>
              </a:rPr>
              <a:t>ГРЭССТРОЙ« ЖШС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34" name="Прямоугольник 33"/>
          <p:cNvSpPr/>
          <p:nvPr>
            <p:custDataLst>
              <p:tags r:id="rId21"/>
            </p:custDataLst>
          </p:nvPr>
        </p:nvSpPr>
        <p:spPr bwMode="auto">
          <a:xfrm>
            <a:off x="7231063" y="4384675"/>
            <a:ext cx="61912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>
                <a:solidFill>
                  <a:schemeClr val="tx1"/>
                </a:solidFill>
              </a:rPr>
              <a:t>"ПРЭК" АҚ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79" name="Прямоугольник 78"/>
          <p:cNvSpPr/>
          <p:nvPr>
            <p:custDataLst>
              <p:tags r:id="rId22"/>
            </p:custDataLst>
          </p:nvPr>
        </p:nvSpPr>
        <p:spPr bwMode="auto">
          <a:xfrm>
            <a:off x="7850188" y="2165350"/>
            <a:ext cx="98425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en-US" sz="900" dirty="0">
                <a:solidFill>
                  <a:schemeClr val="tx1"/>
                </a:solidFill>
              </a:rPr>
              <a:t>"LAVAGGIO" </a:t>
            </a:r>
            <a:r>
              <a:rPr lang="ru-RU" altLang="en-US" sz="900" dirty="0">
                <a:solidFill>
                  <a:schemeClr val="tx1"/>
                </a:solidFill>
              </a:rPr>
              <a:t>ЖШС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65" name="Прямоугольник 64"/>
          <p:cNvSpPr/>
          <p:nvPr>
            <p:custDataLst>
              <p:tags r:id="rId23"/>
            </p:custDataLst>
          </p:nvPr>
        </p:nvSpPr>
        <p:spPr bwMode="auto">
          <a:xfrm>
            <a:off x="6589713" y="3074988"/>
            <a:ext cx="1112838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>
                <a:solidFill>
                  <a:schemeClr val="tx1"/>
                </a:solidFill>
              </a:rPr>
              <a:t>"АҚСУ ЖЫЛЫЖАЙ </a:t>
            </a:r>
            <a:endParaRPr lang="ru-RU" altLang="en-US" sz="900" dirty="0" smtClean="0">
              <a:solidFill>
                <a:schemeClr val="tx1"/>
              </a:solidFill>
            </a:endParaRPr>
          </a:p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tx1"/>
                </a:solidFill>
              </a:rPr>
              <a:t>КОМПЛЕКСІ</a:t>
            </a:r>
            <a:r>
              <a:rPr lang="ru-RU" altLang="en-US" sz="900" dirty="0">
                <a:solidFill>
                  <a:schemeClr val="tx1"/>
                </a:solidFill>
              </a:rPr>
              <a:t>" ЖШС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1" name="Прямоугольник 80"/>
          <p:cNvSpPr/>
          <p:nvPr>
            <p:custDataLst>
              <p:tags r:id="rId24"/>
            </p:custDataLst>
          </p:nvPr>
        </p:nvSpPr>
        <p:spPr bwMode="auto">
          <a:xfrm>
            <a:off x="8885238" y="2197100"/>
            <a:ext cx="140652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>
                <a:solidFill>
                  <a:schemeClr val="tx1"/>
                </a:solidFill>
              </a:rPr>
              <a:t>"ГИДРОСЕРВИС-ҚР" ЖШС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7" name="Freeform 140"/>
          <p:cNvSpPr/>
          <p:nvPr/>
        </p:nvSpPr>
        <p:spPr>
          <a:xfrm>
            <a:off x="6293642" y="1449911"/>
            <a:ext cx="5699657" cy="4357688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endParaRPr lang="da-DK" sz="1200" dirty="0">
              <a:solidFill>
                <a:schemeClr val="accent1"/>
              </a:solidFill>
            </a:endParaRPr>
          </a:p>
        </p:txBody>
      </p:sp>
      <p:sp>
        <p:nvSpPr>
          <p:cNvPr id="158" name="TextBox 157"/>
          <p:cNvSpPr txBox="1"/>
          <p:nvPr/>
        </p:nvSpPr>
        <p:spPr>
          <a:xfrm>
            <a:off x="10731260" y="2544792"/>
            <a:ext cx="974785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 smtClean="0"/>
              <a:t>Гкал</a:t>
            </a:r>
            <a:endParaRPr lang="ru-RU" sz="10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5382631" y="3244334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 </a:t>
            </a:r>
            <a:endParaRPr lang="ru-RU" sz="900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11351008" y="2874113"/>
            <a:ext cx="516935" cy="20841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900" dirty="0">
              <a:solidFill>
                <a:schemeClr val="bg2">
                  <a:lumMod val="65000"/>
                </a:schemeClr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423139" y="4573072"/>
            <a:ext cx="428322" cy="369332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val="7211915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15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315" name="Слайд think-cell" r:id="rId7" imgW="594" imgH="595" progId="TCLayout.ActiveDocument.1">
                  <p:embed/>
                </p:oleObj>
              </mc:Choice>
              <mc:Fallback>
                <p:oleObj name="Слайд think-cell" r:id="rId7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/>
            <a:r>
              <a:rPr lang="ru-RU" b="0" dirty="0" smtClean="0">
                <a:solidFill>
                  <a:schemeClr val="accent1"/>
                </a:solidFill>
              </a:rPr>
              <a:t>ЕЭК: </a:t>
            </a:r>
            <a:r>
              <a:rPr lang="ru-RU" dirty="0" err="1"/>
              <a:t>Реттеліп</a:t>
            </a:r>
            <a:r>
              <a:rPr lang="ru-RU" dirty="0"/>
              <a:t> </a:t>
            </a:r>
            <a:r>
              <a:rPr lang="ru-RU" dirty="0" err="1"/>
              <a:t>көрсетілетін</a:t>
            </a:r>
            <a:r>
              <a:rPr lang="ru-RU" dirty="0"/>
              <a:t> </a:t>
            </a:r>
            <a:r>
              <a:rPr lang="ru-RU" dirty="0" err="1"/>
              <a:t>қызметтерді</a:t>
            </a:r>
            <a:r>
              <a:rPr lang="ru-RU" dirty="0"/>
              <a:t> </a:t>
            </a:r>
            <a:r>
              <a:rPr lang="ru-RU" dirty="0" err="1"/>
              <a:t>тұтынушылармен</a:t>
            </a:r>
            <a:r>
              <a:rPr lang="ru-RU" dirty="0"/>
              <a:t> </a:t>
            </a:r>
            <a:r>
              <a:rPr lang="ru-RU" dirty="0" err="1"/>
              <a:t>жүргізілетін</a:t>
            </a:r>
            <a:r>
              <a:rPr lang="ru-RU" dirty="0"/>
              <a:t> </a:t>
            </a:r>
            <a:r>
              <a:rPr lang="ru-RU" dirty="0" err="1"/>
              <a:t>жұмыс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708714" y="3244334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>
                <a:solidFill>
                  <a:schemeClr val="bg1"/>
                </a:solidFill>
              </a:rPr>
              <a:pPr/>
              <a:t>100%</a:t>
            </a:fld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8795043" y="4895016"/>
            <a:ext cx="6431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/>
              <a:t>100%</a:t>
            </a:fld>
            <a:endParaRPr lang="ru-RU" sz="1400" dirty="0"/>
          </a:p>
        </p:txBody>
      </p:sp>
      <p:sp>
        <p:nvSpPr>
          <p:cNvPr id="9" name="Текст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974963" y="5816600"/>
            <a:ext cx="16541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spcBef>
                <a:spcPct val="0"/>
              </a:spcBef>
              <a:buNone/>
            </a:pPr>
            <a:endParaRPr lang="ru-RU" sz="1400" dirty="0">
              <a:latin typeface="+mn-lt"/>
              <a:cs typeface="+mn-cs"/>
              <a:sym typeface="+mn-lt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54526" y="2850144"/>
            <a:ext cx="2165349" cy="14017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«ЕЭК» АҚ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 bwMode="gray">
          <a:xfrm>
            <a:off x="4475162" y="1423988"/>
            <a:ext cx="2738416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err="1">
                <a:solidFill>
                  <a:schemeClr val="dk1"/>
                </a:solidFill>
              </a:rPr>
              <a:t>Қызмет</a:t>
            </a:r>
            <a:r>
              <a:rPr lang="ru-RU" sz="1400" b="1" i="1" dirty="0">
                <a:solidFill>
                  <a:schemeClr val="dk1"/>
                </a:solidFill>
              </a:rPr>
              <a:t> </a:t>
            </a:r>
            <a:r>
              <a:rPr lang="ru-RU" sz="1400" b="1" i="1" dirty="0" err="1">
                <a:solidFill>
                  <a:schemeClr val="dk1"/>
                </a:solidFill>
              </a:rPr>
              <a:t>көрсету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gray">
          <a:xfrm>
            <a:off x="7213829" y="1423988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err="1">
                <a:solidFill>
                  <a:schemeClr val="dk1"/>
                </a:solidFill>
              </a:rPr>
              <a:t>Қызмет</a:t>
            </a:r>
            <a:r>
              <a:rPr lang="ru-RU" sz="1400" b="1" i="1" dirty="0">
                <a:solidFill>
                  <a:schemeClr val="dk1"/>
                </a:solidFill>
              </a:rPr>
              <a:t> </a:t>
            </a:r>
            <a:r>
              <a:rPr lang="ru-RU" sz="1400" b="1" i="1" dirty="0" err="1">
                <a:solidFill>
                  <a:schemeClr val="dk1"/>
                </a:solidFill>
              </a:rPr>
              <a:t>тарифі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2946400" y="1423988"/>
            <a:ext cx="1438275" cy="3671888"/>
            <a:chOff x="2432720" y="2258870"/>
            <a:chExt cx="1438524" cy="3672000"/>
          </a:xfrm>
        </p:grpSpPr>
        <p:sp>
          <p:nvSpPr>
            <p:cNvPr id="14" name="Freeform 54"/>
            <p:cNvSpPr>
              <a:spLocks/>
            </p:cNvSpPr>
            <p:nvPr/>
          </p:nvSpPr>
          <p:spPr bwMode="auto">
            <a:xfrm>
              <a:off x="2432720" y="2258870"/>
              <a:ext cx="1438524" cy="3375993"/>
            </a:xfrm>
            <a:custGeom>
              <a:avLst/>
              <a:gdLst>
                <a:gd name="T0" fmla="*/ 0 w 1001"/>
                <a:gd name="T1" fmla="*/ 1473200 h 2224"/>
                <a:gd name="T2" fmla="*/ 971550 w 1001"/>
                <a:gd name="T3" fmla="*/ 1473200 h 2224"/>
                <a:gd name="T4" fmla="*/ 971550 w 1001"/>
                <a:gd name="T5" fmla="*/ 1897062 h 2224"/>
                <a:gd name="T6" fmla="*/ 1589088 w 1001"/>
                <a:gd name="T7" fmla="*/ 3530600 h 2224"/>
                <a:gd name="T8" fmla="*/ 1589088 w 1001"/>
                <a:gd name="T9" fmla="*/ 0 h 2224"/>
                <a:gd name="T10" fmla="*/ 0 w 1001"/>
                <a:gd name="T11" fmla="*/ 1473200 h 2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01"/>
                <a:gd name="T19" fmla="*/ 0 h 2224"/>
                <a:gd name="T20" fmla="*/ 1001 w 1001"/>
                <a:gd name="T21" fmla="*/ 2224 h 2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01" h="2224">
                  <a:moveTo>
                    <a:pt x="0" y="928"/>
                  </a:moveTo>
                  <a:lnTo>
                    <a:pt x="612" y="928"/>
                  </a:lnTo>
                  <a:lnTo>
                    <a:pt x="612" y="1195"/>
                  </a:lnTo>
                  <a:lnTo>
                    <a:pt x="1001" y="2224"/>
                  </a:lnTo>
                  <a:lnTo>
                    <a:pt x="1001" y="0"/>
                  </a:lnTo>
                  <a:lnTo>
                    <a:pt x="0" y="928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path path="rect">
                <a:fillToRect t="100000" r="10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lg" len="lg"/>
                  <a:tailEnd type="none" w="lg" len="lg"/>
                </a14:hiddenLine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  <p:sp>
          <p:nvSpPr>
            <p:cNvPr id="15" name="Freeform 55"/>
            <p:cNvSpPr>
              <a:spLocks/>
            </p:cNvSpPr>
            <p:nvPr/>
          </p:nvSpPr>
          <p:spPr bwMode="auto">
            <a:xfrm>
              <a:off x="2432720" y="2269496"/>
              <a:ext cx="1438524" cy="3661374"/>
            </a:xfrm>
            <a:custGeom>
              <a:avLst/>
              <a:gdLst>
                <a:gd name="T0" fmla="*/ 1531938 w 1001"/>
                <a:gd name="T1" fmla="*/ 0 h 2412"/>
                <a:gd name="T2" fmla="*/ 0 w 1001"/>
                <a:gd name="T3" fmla="*/ 1462087 h 2412"/>
                <a:gd name="T4" fmla="*/ 982663 w 1001"/>
                <a:gd name="T5" fmla="*/ 1462087 h 2412"/>
                <a:gd name="T6" fmla="*/ 982663 w 1001"/>
                <a:gd name="T7" fmla="*/ 1897063 h 2412"/>
                <a:gd name="T8" fmla="*/ 1589088 w 1001"/>
                <a:gd name="T9" fmla="*/ 3829050 h 24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1"/>
                <a:gd name="T16" fmla="*/ 0 h 2412"/>
                <a:gd name="T17" fmla="*/ 1001 w 1001"/>
                <a:gd name="T18" fmla="*/ 2412 h 24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1" h="2412">
                  <a:moveTo>
                    <a:pt x="965" y="0"/>
                  </a:moveTo>
                  <a:lnTo>
                    <a:pt x="0" y="921"/>
                  </a:lnTo>
                  <a:lnTo>
                    <a:pt x="619" y="921"/>
                  </a:lnTo>
                  <a:lnTo>
                    <a:pt x="619" y="1195"/>
                  </a:lnTo>
                  <a:lnTo>
                    <a:pt x="1001" y="2412"/>
                  </a:lnTo>
                </a:path>
              </a:pathLst>
            </a:custGeom>
            <a:noFill/>
            <a:ln w="19050" cap="flat" cmpd="sng" algn="ctr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Rectangle 38"/>
          <p:cNvSpPr>
            <a:spLocks noChangeArrowheads="1"/>
          </p:cNvSpPr>
          <p:nvPr/>
        </p:nvSpPr>
        <p:spPr bwMode="gray">
          <a:xfrm>
            <a:off x="2638425" y="2876550"/>
            <a:ext cx="1152525" cy="396875"/>
          </a:xfrm>
          <a:prstGeom prst="rect">
            <a:avLst/>
          </a:prstGeom>
          <a:solidFill>
            <a:schemeClr val="dk2"/>
          </a:solidFill>
          <a:ln w="12700" cap="flat" cmpd="sng" algn="ctr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de-DE" sz="1050" b="0" dirty="0" err="1">
                <a:solidFill>
                  <a:schemeClr val="lt1"/>
                </a:solidFill>
              </a:rPr>
              <a:t>Реттелетін</a:t>
            </a:r>
            <a:r>
              <a:rPr lang="ru-RU" altLang="de-DE" sz="1050" b="0" dirty="0">
                <a:solidFill>
                  <a:schemeClr val="lt1"/>
                </a:solidFill>
              </a:rPr>
              <a:t> </a:t>
            </a:r>
            <a:r>
              <a:rPr lang="ru-RU" altLang="de-DE" sz="1050" b="0" dirty="0" err="1">
                <a:solidFill>
                  <a:schemeClr val="lt1"/>
                </a:solidFill>
              </a:rPr>
              <a:t>қызмет</a:t>
            </a:r>
            <a:endParaRPr lang="de-DE" altLang="de-DE" sz="1050" b="0" dirty="0" smtClean="0">
              <a:solidFill>
                <a:schemeClr val="lt1"/>
              </a:solidFill>
            </a:endParaRPr>
          </a:p>
        </p:txBody>
      </p:sp>
      <p:sp>
        <p:nvSpPr>
          <p:cNvPr id="17" name="Rectangle 38"/>
          <p:cNvSpPr>
            <a:spLocks noChangeArrowheads="1"/>
          </p:cNvSpPr>
          <p:nvPr/>
        </p:nvSpPr>
        <p:spPr bwMode="gray">
          <a:xfrm>
            <a:off x="2638425" y="3343275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kk-KZ" altLang="de-DE" sz="1050" b="0" dirty="0" smtClean="0">
                <a:solidFill>
                  <a:schemeClr val="dk1"/>
                </a:solidFill>
              </a:rPr>
              <a:t>Негізгі қызмет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sp>
        <p:nvSpPr>
          <p:cNvPr id="18" name="Rectangle 38"/>
          <p:cNvSpPr>
            <a:spLocks noChangeArrowheads="1"/>
          </p:cNvSpPr>
          <p:nvPr/>
        </p:nvSpPr>
        <p:spPr bwMode="gray">
          <a:xfrm>
            <a:off x="2638425" y="3844925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err="1" smtClean="0">
                <a:solidFill>
                  <a:schemeClr val="dk1"/>
                </a:solidFill>
              </a:rPr>
              <a:t>Басқа</a:t>
            </a:r>
            <a:r>
              <a:rPr lang="ru-RU" altLang="de-DE" sz="1050" b="0" dirty="0" smtClean="0">
                <a:solidFill>
                  <a:schemeClr val="dk1"/>
                </a:solidFill>
              </a:rPr>
              <a:t> </a:t>
            </a:r>
            <a:r>
              <a:rPr lang="ru-RU" altLang="de-DE" sz="1050" b="0" dirty="0" err="1" smtClean="0">
                <a:solidFill>
                  <a:schemeClr val="dk1"/>
                </a:solidFill>
              </a:rPr>
              <a:t>қызмет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cxnSp>
        <p:nvCxnSpPr>
          <p:cNvPr id="19" name="Gerade Verbindung 14"/>
          <p:cNvCxnSpPr/>
          <p:nvPr/>
        </p:nvCxnSpPr>
        <p:spPr bwMode="auto">
          <a:xfrm>
            <a:off x="4475162" y="1198563"/>
            <a:ext cx="6660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20" name="Rectangle 34"/>
          <p:cNvSpPr>
            <a:spLocks noChangeArrowheads="1"/>
          </p:cNvSpPr>
          <p:nvPr/>
        </p:nvSpPr>
        <p:spPr bwMode="auto">
          <a:xfrm>
            <a:off x="4475162" y="692150"/>
            <a:ext cx="6659999" cy="451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72000" anchor="b"/>
          <a:lstStyle/>
          <a:p>
            <a:pPr algn="ctr"/>
            <a:r>
              <a:rPr lang="ru-RU" altLang="de-DE" sz="1600" b="1" dirty="0" err="1">
                <a:solidFill>
                  <a:srgbClr val="000000"/>
                </a:solidFill>
              </a:rPr>
              <a:t>Тұтынушылармен</a:t>
            </a:r>
            <a:r>
              <a:rPr lang="ru-RU" altLang="de-DE" sz="1600" b="1" dirty="0">
                <a:solidFill>
                  <a:srgbClr val="000000"/>
                </a:solidFill>
              </a:rPr>
              <a:t> </a:t>
            </a:r>
            <a:r>
              <a:rPr lang="ru-RU" altLang="de-DE" sz="1600" b="1" dirty="0" err="1">
                <a:solidFill>
                  <a:srgbClr val="000000"/>
                </a:solidFill>
              </a:rPr>
              <a:t>жұмыс</a:t>
            </a:r>
            <a:endParaRPr lang="en-GB" altLang="de-DE" sz="1600" b="1" dirty="0" smtClean="0">
              <a:solidFill>
                <a:srgbClr val="000000"/>
              </a:solidFill>
            </a:endParaRPr>
          </a:p>
        </p:txBody>
      </p:sp>
      <p:sp>
        <p:nvSpPr>
          <p:cNvPr id="21" name="Rounded Rectangle 526"/>
          <p:cNvSpPr/>
          <p:nvPr/>
        </p:nvSpPr>
        <p:spPr bwMode="gray">
          <a:xfrm>
            <a:off x="4475162" y="1874838"/>
            <a:ext cx="2738416" cy="322948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/>
              <a:t>уәкілетті</a:t>
            </a:r>
            <a:r>
              <a:rPr lang="ru-RU" sz="1400" dirty="0"/>
              <a:t> орган </a:t>
            </a:r>
            <a:r>
              <a:rPr lang="ru-RU" sz="1400" dirty="0" err="1"/>
              <a:t>бекіткен</a:t>
            </a:r>
            <a:r>
              <a:rPr lang="ru-RU" sz="1400" dirty="0"/>
              <a:t> </a:t>
            </a:r>
            <a:r>
              <a:rPr lang="ru-RU" sz="1400" dirty="0" err="1"/>
              <a:t>тарифтер</a:t>
            </a:r>
            <a:r>
              <a:rPr lang="ru-RU" sz="1400" dirty="0"/>
              <a:t> </a:t>
            </a:r>
            <a:r>
              <a:rPr lang="ru-RU" sz="1400" dirty="0" err="1"/>
              <a:t>бойынша</a:t>
            </a:r>
            <a:r>
              <a:rPr lang="ru-RU" sz="1400" dirty="0"/>
              <a:t> </a:t>
            </a:r>
            <a:r>
              <a:rPr lang="ru-RU" sz="1400" dirty="0" err="1"/>
              <a:t>көрсетілетін</a:t>
            </a:r>
            <a:r>
              <a:rPr lang="ru-RU" sz="1400" dirty="0"/>
              <a:t> </a:t>
            </a:r>
            <a:r>
              <a:rPr lang="ru-RU" sz="1400" dirty="0" err="1"/>
              <a:t>қызметтердің</a:t>
            </a:r>
            <a:r>
              <a:rPr lang="ru-RU" sz="1400" dirty="0"/>
              <a:t> </a:t>
            </a:r>
            <a:r>
              <a:rPr lang="ru-RU" sz="1400" dirty="0" err="1"/>
              <a:t>сапасына</a:t>
            </a:r>
            <a:r>
              <a:rPr lang="ru-RU" sz="1400" dirty="0"/>
              <a:t> </a:t>
            </a:r>
            <a:r>
              <a:rPr lang="ru-RU" sz="1400" dirty="0" err="1"/>
              <a:t>қойылатын</a:t>
            </a:r>
            <a:r>
              <a:rPr lang="ru-RU" sz="1400" dirty="0"/>
              <a:t> </a:t>
            </a:r>
            <a:r>
              <a:rPr lang="ru-RU" sz="1400" dirty="0" err="1"/>
              <a:t>талаптарға</a:t>
            </a:r>
            <a:r>
              <a:rPr lang="ru-RU" sz="1400" dirty="0"/>
              <a:t> </a:t>
            </a:r>
            <a:r>
              <a:rPr lang="ru-RU" sz="1400" dirty="0" err="1"/>
              <a:t>сәйкес</a:t>
            </a:r>
            <a:r>
              <a:rPr lang="ru-RU" sz="1400" dirty="0"/>
              <a:t> </a:t>
            </a:r>
            <a:r>
              <a:rPr lang="ru-RU" sz="1400" dirty="0" err="1"/>
              <a:t>жалпыға</a:t>
            </a:r>
            <a:r>
              <a:rPr lang="ru-RU" sz="1400" dirty="0"/>
              <a:t> </a:t>
            </a:r>
            <a:r>
              <a:rPr lang="ru-RU" sz="1400" dirty="0" err="1"/>
              <a:t>бірдей</a:t>
            </a:r>
            <a:r>
              <a:rPr lang="ru-RU" sz="1400" dirty="0"/>
              <a:t> </a:t>
            </a:r>
            <a:r>
              <a:rPr lang="ru-RU" sz="1400" dirty="0" err="1"/>
              <a:t>қызмет</a:t>
            </a:r>
            <a:r>
              <a:rPr lang="ru-RU" sz="1400" dirty="0"/>
              <a:t> </a:t>
            </a:r>
            <a:r>
              <a:rPr lang="ru-RU" sz="1400" dirty="0" err="1"/>
              <a:t>көрсету</a:t>
            </a:r>
            <a:r>
              <a:rPr lang="ru-RU" sz="1400" dirty="0"/>
              <a:t> </a:t>
            </a:r>
            <a:r>
              <a:rPr lang="ru-RU" sz="1400" dirty="0" err="1"/>
              <a:t>қамтамасыз</a:t>
            </a:r>
            <a:r>
              <a:rPr lang="ru-RU" sz="1400" dirty="0"/>
              <a:t> </a:t>
            </a:r>
            <a:r>
              <a:rPr lang="ru-RU" sz="1400" dirty="0" err="1"/>
              <a:t>етіледі</a:t>
            </a:r>
            <a:r>
              <a:rPr lang="ru-RU" sz="1400" dirty="0"/>
              <a:t>. </a:t>
            </a:r>
            <a:endParaRPr lang="ru-RU" sz="1400" dirty="0" smtClean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 smtClean="0"/>
              <a:t>тараптар</a:t>
            </a:r>
            <a:r>
              <a:rPr lang="ru-RU" sz="1400" dirty="0" smtClean="0"/>
              <a:t> </a:t>
            </a:r>
            <a:r>
              <a:rPr lang="ru-RU" sz="1400" dirty="0" err="1"/>
              <a:t>жасасқан</a:t>
            </a:r>
            <a:r>
              <a:rPr lang="ru-RU" sz="1400" dirty="0"/>
              <a:t> </a:t>
            </a:r>
            <a:r>
              <a:rPr lang="ru-RU" sz="1400" dirty="0" err="1"/>
              <a:t>шарттардың</a:t>
            </a:r>
            <a:r>
              <a:rPr lang="ru-RU" sz="1400" dirty="0"/>
              <a:t> </a:t>
            </a:r>
            <a:r>
              <a:rPr lang="ru-RU" sz="1400" dirty="0" err="1"/>
              <a:t>және</a:t>
            </a:r>
            <a:r>
              <a:rPr lang="ru-RU" sz="1400" dirty="0"/>
              <a:t> </a:t>
            </a:r>
            <a:r>
              <a:rPr lang="ru-RU" sz="1400" dirty="0" err="1"/>
              <a:t>қабылданған</a:t>
            </a:r>
            <a:r>
              <a:rPr lang="ru-RU" sz="1400" dirty="0"/>
              <a:t> </a:t>
            </a:r>
            <a:r>
              <a:rPr lang="ru-RU" sz="1400" dirty="0" err="1"/>
              <a:t>шарттық</a:t>
            </a:r>
            <a:r>
              <a:rPr lang="ru-RU" sz="1400" dirty="0"/>
              <a:t> </a:t>
            </a:r>
            <a:r>
              <a:rPr lang="ru-RU" sz="1400" dirty="0" err="1"/>
              <a:t>өзара</a:t>
            </a:r>
            <a:r>
              <a:rPr lang="ru-RU" sz="1400" dirty="0"/>
              <a:t> </a:t>
            </a:r>
            <a:r>
              <a:rPr lang="ru-RU" sz="1400" dirty="0" err="1"/>
              <a:t>міндеттемелердің</a:t>
            </a:r>
            <a:r>
              <a:rPr lang="ru-RU" sz="1400" dirty="0"/>
              <a:t> </a:t>
            </a:r>
            <a:r>
              <a:rPr lang="ru-RU" sz="1400" dirty="0" err="1"/>
              <a:t>талаптарына</a:t>
            </a:r>
            <a:r>
              <a:rPr lang="ru-RU" sz="1400" dirty="0"/>
              <a:t> </a:t>
            </a:r>
            <a:r>
              <a:rPr lang="ru-RU" sz="1400" dirty="0" err="1"/>
              <a:t>сәйкес</a:t>
            </a:r>
            <a:r>
              <a:rPr lang="ru-RU" sz="1400" dirty="0"/>
              <a:t> </a:t>
            </a:r>
            <a:r>
              <a:rPr lang="ru-RU" sz="1400" dirty="0" err="1"/>
              <a:t>жүзеге</a:t>
            </a:r>
            <a:r>
              <a:rPr lang="ru-RU" sz="1400" dirty="0"/>
              <a:t> </a:t>
            </a:r>
            <a:r>
              <a:rPr lang="ru-RU" sz="1400" dirty="0" err="1"/>
              <a:t>асырылады</a:t>
            </a:r>
            <a:r>
              <a:rPr lang="ru-RU" sz="1400" dirty="0"/>
              <a:t>.</a:t>
            </a:r>
          </a:p>
        </p:txBody>
      </p:sp>
      <p:sp>
        <p:nvSpPr>
          <p:cNvPr id="22" name="Rounded Rectangle 526"/>
          <p:cNvSpPr/>
          <p:nvPr/>
        </p:nvSpPr>
        <p:spPr bwMode="gray">
          <a:xfrm>
            <a:off x="7136971" y="1874838"/>
            <a:ext cx="2415309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/>
              <a:t>жобаны</a:t>
            </a:r>
            <a:r>
              <a:rPr lang="ru-RU" sz="1400" dirty="0"/>
              <a:t> </a:t>
            </a:r>
            <a:r>
              <a:rPr lang="ru-RU" sz="1400" dirty="0" err="1"/>
              <a:t>бағалау</a:t>
            </a:r>
            <a:r>
              <a:rPr lang="ru-RU" sz="1400" dirty="0"/>
              <a:t> </a:t>
            </a:r>
            <a:r>
              <a:rPr lang="ru-RU" sz="1400" dirty="0" err="1"/>
              <a:t>процесіне</a:t>
            </a:r>
            <a:r>
              <a:rPr lang="ru-RU" sz="1400" dirty="0"/>
              <a:t> </a:t>
            </a:r>
            <a:r>
              <a:rPr lang="ru-RU" sz="1400" dirty="0" err="1"/>
              <a:t>тәуелсіз</a:t>
            </a:r>
            <a:r>
              <a:rPr lang="ru-RU" sz="1400" dirty="0"/>
              <a:t> </a:t>
            </a:r>
            <a:r>
              <a:rPr lang="ru-RU" sz="1400" dirty="0" err="1"/>
              <a:t>сарапшылардың</a:t>
            </a:r>
            <a:r>
              <a:rPr lang="ru-RU" sz="1400" dirty="0"/>
              <a:t>, </a:t>
            </a:r>
            <a:r>
              <a:rPr lang="ru-RU" sz="1400" dirty="0" err="1"/>
              <a:t>қоғамдық</a:t>
            </a:r>
            <a:r>
              <a:rPr lang="ru-RU" sz="1400" dirty="0"/>
              <a:t> </a:t>
            </a:r>
            <a:r>
              <a:rPr lang="ru-RU" sz="1400" dirty="0" err="1"/>
              <a:t>ұйымдар</a:t>
            </a:r>
            <a:r>
              <a:rPr lang="ru-RU" sz="1400" dirty="0"/>
              <a:t> мен </a:t>
            </a:r>
            <a:r>
              <a:rPr lang="ru-RU" sz="1400" dirty="0" err="1"/>
              <a:t>тұтынушылардың</a:t>
            </a:r>
            <a:r>
              <a:rPr lang="ru-RU" sz="1400" dirty="0"/>
              <a:t> </a:t>
            </a:r>
            <a:r>
              <a:rPr lang="ru-RU" sz="1400" dirty="0" err="1"/>
              <a:t>қатысуы</a:t>
            </a:r>
            <a:r>
              <a:rPr lang="ru-RU" sz="1400" dirty="0"/>
              <a:t> </a:t>
            </a:r>
            <a:endParaRPr lang="ru-RU" sz="1400" dirty="0" smtClean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 smtClean="0"/>
              <a:t>қоғамдық</a:t>
            </a:r>
            <a:r>
              <a:rPr lang="ru-RU" sz="1400" dirty="0" smtClean="0"/>
              <a:t> </a:t>
            </a:r>
            <a:r>
              <a:rPr lang="ru-RU" sz="1400" dirty="0" err="1"/>
              <a:t>тыңдауларға</a:t>
            </a:r>
            <a:r>
              <a:rPr lang="ru-RU" sz="1400" dirty="0"/>
              <a:t> </a:t>
            </a:r>
            <a:r>
              <a:rPr lang="ru-RU" sz="1400" dirty="0" err="1" smtClean="0"/>
              <a:t>қатысу</a:t>
            </a:r>
            <a:endParaRPr lang="ru-RU" sz="1400" dirty="0" smtClean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 smtClean="0"/>
              <a:t>тұтынушыларды</a:t>
            </a:r>
            <a:r>
              <a:rPr lang="ru-RU" sz="1400" dirty="0" smtClean="0"/>
              <a:t> </a:t>
            </a:r>
            <a:r>
              <a:rPr lang="ru-RU" sz="1400" dirty="0" err="1"/>
              <a:t>заңнамада</a:t>
            </a:r>
            <a:r>
              <a:rPr lang="ru-RU" sz="1400" dirty="0"/>
              <a:t> </a:t>
            </a:r>
            <a:r>
              <a:rPr lang="ru-RU" sz="1400" dirty="0" err="1"/>
              <a:t>көзделген</a:t>
            </a:r>
            <a:r>
              <a:rPr lang="ru-RU" sz="1400" dirty="0"/>
              <a:t> </a:t>
            </a:r>
            <a:r>
              <a:rPr lang="ru-RU" sz="1400" dirty="0" err="1"/>
              <a:t>мерзімдерде</a:t>
            </a:r>
            <a:r>
              <a:rPr lang="ru-RU" sz="1400" dirty="0"/>
              <a:t> </a:t>
            </a:r>
            <a:r>
              <a:rPr lang="ru-RU" sz="1400" dirty="0" err="1"/>
              <a:t>тарифтердің</a:t>
            </a:r>
            <a:r>
              <a:rPr lang="ru-RU" sz="1400" dirty="0"/>
              <a:t> </a:t>
            </a:r>
            <a:r>
              <a:rPr lang="ru-RU" sz="1400" dirty="0" err="1"/>
              <a:t>өзгеруі</a:t>
            </a:r>
            <a:r>
              <a:rPr lang="ru-RU" sz="1400" dirty="0"/>
              <a:t> </a:t>
            </a:r>
            <a:r>
              <a:rPr lang="ru-RU" sz="1400" dirty="0" err="1"/>
              <a:t>туралы</a:t>
            </a:r>
            <a:r>
              <a:rPr lang="ru-RU" sz="1400" dirty="0"/>
              <a:t> </a:t>
            </a:r>
            <a:r>
              <a:rPr lang="ru-RU" sz="1400" dirty="0" err="1"/>
              <a:t>хабардар</a:t>
            </a:r>
            <a:r>
              <a:rPr lang="ru-RU" sz="1400" dirty="0"/>
              <a:t> </a:t>
            </a:r>
            <a:r>
              <a:rPr lang="ru-RU" sz="1400" dirty="0" err="1"/>
              <a:t>ету</a:t>
            </a:r>
            <a:endParaRPr lang="en-US" sz="1400" dirty="0">
              <a:solidFill>
                <a:schemeClr val="dk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834311" y="6321425"/>
            <a:ext cx="10602862" cy="307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2025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көрсетілетін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қызметтердің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сапасына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тұтынушылар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тарапынан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шағымдар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жоқ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834311" y="5377626"/>
            <a:ext cx="110326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2025 </a:t>
            </a:r>
            <a:r>
              <a:rPr lang="ru-RU" sz="1400" dirty="0" err="1"/>
              <a:t>жылы</a:t>
            </a:r>
            <a:r>
              <a:rPr lang="ru-RU" sz="1400" dirty="0"/>
              <a:t> </a:t>
            </a:r>
            <a:r>
              <a:rPr lang="ru-RU" sz="1400" dirty="0" err="1"/>
              <a:t>болған</a:t>
            </a:r>
            <a:r>
              <a:rPr lang="ru-RU" sz="1400" dirty="0"/>
              <a:t> </a:t>
            </a:r>
            <a:r>
              <a:rPr lang="ru-RU" sz="1400" dirty="0" err="1"/>
              <a:t>жоқ</a:t>
            </a:r>
            <a:r>
              <a:rPr lang="ru-RU" sz="1400" dirty="0" smtClean="0"/>
              <a:t>:</a:t>
            </a:r>
          </a:p>
          <a:p>
            <a:pPr marL="285750" indent="-285750">
              <a:buFontTx/>
              <a:buChar char="-"/>
            </a:pPr>
            <a:r>
              <a:rPr lang="ru-RU" sz="1400" dirty="0" err="1" smtClean="0"/>
              <a:t>реттелетін</a:t>
            </a:r>
            <a:r>
              <a:rPr lang="ru-RU" sz="1400" dirty="0" smtClean="0"/>
              <a:t> </a:t>
            </a:r>
            <a:r>
              <a:rPr lang="ru-RU" sz="1400" dirty="0" err="1"/>
              <a:t>қызметтерді</a:t>
            </a:r>
            <a:r>
              <a:rPr lang="ru-RU" sz="1400" dirty="0"/>
              <a:t> </a:t>
            </a:r>
            <a:r>
              <a:rPr lang="ru-RU" sz="1400" dirty="0" err="1"/>
              <a:t>көрсетуге</a:t>
            </a:r>
            <a:r>
              <a:rPr lang="ru-RU" sz="1400" dirty="0"/>
              <a:t> </a:t>
            </a:r>
            <a:r>
              <a:rPr lang="ru-RU" sz="1400" dirty="0" err="1"/>
              <a:t>тартылған</a:t>
            </a:r>
            <a:r>
              <a:rPr lang="ru-RU" sz="1400" dirty="0"/>
              <a:t> </a:t>
            </a:r>
            <a:r>
              <a:rPr lang="ru-RU" sz="1400" dirty="0" err="1"/>
              <a:t>жабдықтағы</a:t>
            </a:r>
            <a:r>
              <a:rPr lang="ru-RU" sz="1400" dirty="0"/>
              <a:t> </a:t>
            </a:r>
            <a:r>
              <a:rPr lang="ru-RU" sz="1400" dirty="0" err="1"/>
              <a:t>апаттар</a:t>
            </a:r>
            <a:r>
              <a:rPr lang="ru-RU" sz="1400" dirty="0"/>
              <a:t>, </a:t>
            </a:r>
            <a:endParaRPr lang="ru-RU" sz="1400" dirty="0" smtClean="0"/>
          </a:p>
          <a:p>
            <a:pPr marL="285750" indent="-285750">
              <a:buFontTx/>
              <a:buChar char="-"/>
            </a:pPr>
            <a:r>
              <a:rPr lang="ru-RU" sz="1400" dirty="0" smtClean="0"/>
              <a:t>«ЕЭК» </a:t>
            </a:r>
            <a:r>
              <a:rPr lang="ru-RU" sz="1400" dirty="0"/>
              <a:t>АҚ </a:t>
            </a:r>
            <a:r>
              <a:rPr lang="ru-RU" sz="1400" dirty="0" err="1"/>
              <a:t>реттелетін</a:t>
            </a:r>
            <a:r>
              <a:rPr lang="ru-RU" sz="1400" dirty="0"/>
              <a:t> </a:t>
            </a:r>
            <a:r>
              <a:rPr lang="ru-RU" sz="1400" dirty="0" err="1"/>
              <a:t>қызметтерінен</a:t>
            </a:r>
            <a:r>
              <a:rPr lang="ru-RU" sz="1400" dirty="0"/>
              <a:t> </a:t>
            </a:r>
            <a:r>
              <a:rPr lang="ru-RU" sz="1400" dirty="0" err="1"/>
              <a:t>тұтынушыларды</a:t>
            </a:r>
            <a:r>
              <a:rPr lang="ru-RU" sz="1400" dirty="0"/>
              <a:t> </a:t>
            </a:r>
            <a:r>
              <a:rPr lang="ru-RU" sz="1400" dirty="0" err="1"/>
              <a:t>ажырату</a:t>
            </a:r>
            <a:r>
              <a:rPr lang="ru-RU" sz="1400" dirty="0"/>
              <a:t>.</a:t>
            </a:r>
          </a:p>
        </p:txBody>
      </p:sp>
      <p:sp>
        <p:nvSpPr>
          <p:cNvPr id="25" name="Freeform 223"/>
          <p:cNvSpPr>
            <a:spLocks noEditPoints="1"/>
          </p:cNvSpPr>
          <p:nvPr/>
        </p:nvSpPr>
        <p:spPr bwMode="auto">
          <a:xfrm>
            <a:off x="5888830" y="771075"/>
            <a:ext cx="414338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Rectangle 2"/>
          <p:cNvSpPr/>
          <p:nvPr>
            <p:custDataLst>
              <p:tags r:id="rId4"/>
            </p:custDataLst>
          </p:nvPr>
        </p:nvSpPr>
        <p:spPr bwMode="auto">
          <a:xfrm>
            <a:off x="309563" y="5494338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27" name="Rectangle 2"/>
          <p:cNvSpPr/>
          <p:nvPr>
            <p:custDataLst>
              <p:tags r:id="rId5"/>
            </p:custDataLst>
          </p:nvPr>
        </p:nvSpPr>
        <p:spPr bwMode="auto">
          <a:xfrm>
            <a:off x="309563" y="6216650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cxnSp>
        <p:nvCxnSpPr>
          <p:cNvPr id="28" name="Соединительная линия уступом 27"/>
          <p:cNvCxnSpPr/>
          <p:nvPr/>
        </p:nvCxnSpPr>
        <p:spPr>
          <a:xfrm flipV="1">
            <a:off x="2420126" y="3165364"/>
            <a:ext cx="230159" cy="18516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Соединительная линия уступом 28"/>
          <p:cNvCxnSpPr/>
          <p:nvPr/>
        </p:nvCxnSpPr>
        <p:spPr>
          <a:xfrm>
            <a:off x="2420126" y="3350526"/>
            <a:ext cx="230159" cy="78221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>
            <a:stCxn id="17" idx="1"/>
          </p:cNvCxnSpPr>
          <p:nvPr/>
        </p:nvCxnSpPr>
        <p:spPr>
          <a:xfrm flipH="1">
            <a:off x="2535205" y="3540919"/>
            <a:ext cx="10322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Прямоугольник 30"/>
          <p:cNvSpPr/>
          <p:nvPr/>
        </p:nvSpPr>
        <p:spPr bwMode="gray">
          <a:xfrm>
            <a:off x="9390292" y="1423988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err="1">
                <a:solidFill>
                  <a:schemeClr val="dk1"/>
                </a:solidFill>
              </a:rPr>
              <a:t>Тұтынушылар</a:t>
            </a:r>
            <a:r>
              <a:rPr lang="ru-RU" sz="1400" b="1" i="1" dirty="0">
                <a:solidFill>
                  <a:schemeClr val="dk1"/>
                </a:solidFill>
              </a:rPr>
              <a:t> </a:t>
            </a:r>
            <a:r>
              <a:rPr lang="ru-RU" sz="1400" b="1" i="1" dirty="0" err="1">
                <a:solidFill>
                  <a:schemeClr val="dk1"/>
                </a:solidFill>
              </a:rPr>
              <a:t>алдындағы</a:t>
            </a:r>
            <a:r>
              <a:rPr lang="ru-RU" sz="1400" b="1" i="1" dirty="0">
                <a:solidFill>
                  <a:schemeClr val="dk1"/>
                </a:solidFill>
              </a:rPr>
              <a:t> </a:t>
            </a:r>
            <a:r>
              <a:rPr lang="ru-RU" sz="1400" b="1" i="1" dirty="0" err="1">
                <a:solidFill>
                  <a:schemeClr val="dk1"/>
                </a:solidFill>
              </a:rPr>
              <a:t>есептер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sp>
        <p:nvSpPr>
          <p:cNvPr id="32" name="Rounded Rectangle 526"/>
          <p:cNvSpPr/>
          <p:nvPr/>
        </p:nvSpPr>
        <p:spPr bwMode="gray">
          <a:xfrm>
            <a:off x="9552280" y="1874838"/>
            <a:ext cx="2532954" cy="3502788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/>
              <a:t>көпшілік</a:t>
            </a:r>
            <a:r>
              <a:rPr lang="ru-RU" sz="1400" dirty="0"/>
              <a:t> </a:t>
            </a:r>
            <a:r>
              <a:rPr lang="ru-RU" sz="1400" dirty="0" err="1"/>
              <a:t>тыңдауларға</a:t>
            </a:r>
            <a:r>
              <a:rPr lang="ru-RU" sz="1400" dirty="0"/>
              <a:t> онлайн </a:t>
            </a:r>
            <a:r>
              <a:rPr lang="ru-RU" sz="1400" dirty="0" err="1"/>
              <a:t>қосылуға</a:t>
            </a:r>
            <a:r>
              <a:rPr lang="ru-RU" sz="1400" dirty="0"/>
              <a:t> </a:t>
            </a:r>
            <a:r>
              <a:rPr lang="ru-RU" sz="1400" dirty="0" err="1"/>
              <a:t>сілтеме</a:t>
            </a:r>
            <a:r>
              <a:rPr lang="ru-RU" sz="1400" dirty="0"/>
              <a:t> </a:t>
            </a:r>
            <a:r>
              <a:rPr lang="ru-RU" sz="1400" dirty="0" err="1"/>
              <a:t>бере</a:t>
            </a:r>
            <a:r>
              <a:rPr lang="ru-RU" sz="1400" dirty="0"/>
              <a:t> </a:t>
            </a:r>
            <a:r>
              <a:rPr lang="ru-RU" sz="1400" dirty="0" err="1"/>
              <a:t>отырып</a:t>
            </a:r>
            <a:r>
              <a:rPr lang="ru-RU" sz="1400" dirty="0"/>
              <a:t>, </a:t>
            </a:r>
            <a:r>
              <a:rPr lang="ru-RU" sz="1400" dirty="0" err="1"/>
              <a:t>бұқаралық</a:t>
            </a:r>
            <a:r>
              <a:rPr lang="ru-RU" sz="1400" dirty="0"/>
              <a:t> </a:t>
            </a:r>
            <a:r>
              <a:rPr lang="ru-RU" sz="1400" dirty="0" err="1"/>
              <a:t>ақпарат</a:t>
            </a:r>
            <a:r>
              <a:rPr lang="ru-RU" sz="1400" dirty="0"/>
              <a:t> </a:t>
            </a:r>
            <a:r>
              <a:rPr lang="ru-RU" sz="1400" dirty="0" err="1"/>
              <a:t>құралдарында</a:t>
            </a:r>
            <a:r>
              <a:rPr lang="ru-RU" sz="1400" dirty="0"/>
              <a:t> </a:t>
            </a:r>
            <a:r>
              <a:rPr lang="ru-RU" sz="1400" dirty="0" err="1"/>
              <a:t>көпшілік</a:t>
            </a:r>
            <a:r>
              <a:rPr lang="ru-RU" sz="1400" dirty="0"/>
              <a:t> </a:t>
            </a:r>
            <a:r>
              <a:rPr lang="ru-RU" sz="1400" dirty="0" err="1"/>
              <a:t>тыңдаулардың</a:t>
            </a:r>
            <a:r>
              <a:rPr lang="ru-RU" sz="1400" dirty="0"/>
              <a:t> </a:t>
            </a:r>
            <a:r>
              <a:rPr lang="ru-RU" sz="1400" dirty="0" err="1"/>
              <a:t>уақыты</a:t>
            </a:r>
            <a:r>
              <a:rPr lang="ru-RU" sz="1400" dirty="0"/>
              <a:t> мен </a:t>
            </a:r>
            <a:r>
              <a:rPr lang="ru-RU" sz="1400" dirty="0" err="1"/>
              <a:t>орны</a:t>
            </a:r>
            <a:r>
              <a:rPr lang="ru-RU" sz="1400" dirty="0"/>
              <a:t> </a:t>
            </a:r>
            <a:r>
              <a:rPr lang="ru-RU" sz="1400" dirty="0" err="1"/>
              <a:t>туралы</a:t>
            </a:r>
            <a:r>
              <a:rPr lang="ru-RU" sz="1400" dirty="0"/>
              <a:t> </a:t>
            </a:r>
            <a:r>
              <a:rPr lang="ru-RU" sz="1400" dirty="0" err="1"/>
              <a:t>хабарламаларды</a:t>
            </a:r>
            <a:r>
              <a:rPr lang="ru-RU" sz="1400" dirty="0"/>
              <a:t> </a:t>
            </a:r>
            <a:r>
              <a:rPr lang="ru-RU" sz="1400" dirty="0" err="1" smtClean="0"/>
              <a:t>жариялау</a:t>
            </a:r>
            <a:endParaRPr lang="ru-RU" sz="1400" dirty="0" smtClean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 smtClean="0"/>
              <a:t>міндетті</a:t>
            </a:r>
            <a:r>
              <a:rPr lang="ru-RU" sz="1400" dirty="0" smtClean="0"/>
              <a:t> </a:t>
            </a:r>
            <a:r>
              <a:rPr lang="ru-RU" sz="1400" dirty="0" err="1"/>
              <a:t>ақпаратты</a:t>
            </a:r>
            <a:r>
              <a:rPr lang="ru-RU" sz="1400" dirty="0"/>
              <a:t> </a:t>
            </a:r>
            <a:r>
              <a:rPr lang="ru-RU" sz="1400" dirty="0" err="1"/>
              <a:t>бұқаралық</a:t>
            </a:r>
            <a:r>
              <a:rPr lang="ru-RU" sz="1400" dirty="0"/>
              <a:t> </a:t>
            </a:r>
            <a:r>
              <a:rPr lang="ru-RU" sz="1400" dirty="0" err="1"/>
              <a:t>ақпарат</a:t>
            </a:r>
            <a:r>
              <a:rPr lang="ru-RU" sz="1400" dirty="0"/>
              <a:t> </a:t>
            </a:r>
            <a:r>
              <a:rPr lang="ru-RU" sz="1400" dirty="0" err="1"/>
              <a:t>құралдарында</a:t>
            </a:r>
            <a:r>
              <a:rPr lang="ru-RU" sz="1400" dirty="0"/>
              <a:t>, </a:t>
            </a:r>
            <a:r>
              <a:rPr lang="ru-RU" sz="1400" dirty="0" err="1"/>
              <a:t>оның</a:t>
            </a:r>
            <a:r>
              <a:rPr lang="ru-RU" sz="1400" dirty="0"/>
              <a:t> </a:t>
            </a:r>
            <a:r>
              <a:rPr lang="ru-RU" sz="1400" dirty="0" err="1"/>
              <a:t>ішінде</a:t>
            </a:r>
            <a:r>
              <a:rPr lang="ru-RU" sz="1400" dirty="0"/>
              <a:t> интернет-</a:t>
            </a:r>
            <a:r>
              <a:rPr lang="ru-RU" sz="1400" dirty="0" err="1"/>
              <a:t>ресурста</a:t>
            </a:r>
            <a:r>
              <a:rPr lang="ru-RU" sz="1400" dirty="0"/>
              <a:t> </a:t>
            </a:r>
            <a:r>
              <a:rPr lang="ru-RU" sz="1400" dirty="0" err="1"/>
              <a:t>орналастыру</a:t>
            </a:r>
            <a:endParaRPr lang="ru-RU" sz="1400" dirty="0" smtClean="0">
              <a:solidFill>
                <a:schemeClr val="dk1"/>
              </a:solidFill>
            </a:endParaRPr>
          </a:p>
        </p:txBody>
      </p:sp>
      <p:grpSp>
        <p:nvGrpSpPr>
          <p:cNvPr id="33" name="Group 481"/>
          <p:cNvGrpSpPr/>
          <p:nvPr/>
        </p:nvGrpSpPr>
        <p:grpSpPr>
          <a:xfrm>
            <a:off x="387567" y="3304636"/>
            <a:ext cx="369888" cy="369888"/>
            <a:chOff x="-1550988" y="2722564"/>
            <a:chExt cx="369888" cy="369888"/>
          </a:xfrm>
        </p:grpSpPr>
        <p:sp>
          <p:nvSpPr>
            <p:cNvPr id="34" name="Freeform 397"/>
            <p:cNvSpPr>
              <a:spLocks noEditPoints="1"/>
            </p:cNvSpPr>
            <p:nvPr/>
          </p:nvSpPr>
          <p:spPr bwMode="auto">
            <a:xfrm>
              <a:off x="-1550988" y="2722564"/>
              <a:ext cx="369888" cy="369888"/>
            </a:xfrm>
            <a:custGeom>
              <a:avLst/>
              <a:gdLst>
                <a:gd name="T0" fmla="*/ 271 w 283"/>
                <a:gd name="T1" fmla="*/ 274 h 283"/>
                <a:gd name="T2" fmla="*/ 266 w 283"/>
                <a:gd name="T3" fmla="*/ 0 h 283"/>
                <a:gd name="T4" fmla="*/ 220 w 283"/>
                <a:gd name="T5" fmla="*/ 5 h 283"/>
                <a:gd name="T6" fmla="*/ 225 w 283"/>
                <a:gd name="T7" fmla="*/ 126 h 283"/>
                <a:gd name="T8" fmla="*/ 230 w 283"/>
                <a:gd name="T9" fmla="*/ 60 h 283"/>
                <a:gd name="T10" fmla="*/ 261 w 283"/>
                <a:gd name="T11" fmla="*/ 274 h 283"/>
                <a:gd name="T12" fmla="*/ 242 w 283"/>
                <a:gd name="T13" fmla="*/ 141 h 283"/>
                <a:gd name="T14" fmla="*/ 236 w 283"/>
                <a:gd name="T15" fmla="*/ 136 h 283"/>
                <a:gd name="T16" fmla="*/ 197 w 283"/>
                <a:gd name="T17" fmla="*/ 30 h 283"/>
                <a:gd name="T18" fmla="*/ 152 w 283"/>
                <a:gd name="T19" fmla="*/ 25 h 283"/>
                <a:gd name="T20" fmla="*/ 147 w 283"/>
                <a:gd name="T21" fmla="*/ 121 h 283"/>
                <a:gd name="T22" fmla="*/ 156 w 283"/>
                <a:gd name="T23" fmla="*/ 121 h 283"/>
                <a:gd name="T24" fmla="*/ 188 w 283"/>
                <a:gd name="T25" fmla="*/ 85 h 283"/>
                <a:gd name="T26" fmla="*/ 169 w 283"/>
                <a:gd name="T27" fmla="*/ 159 h 283"/>
                <a:gd name="T28" fmla="*/ 167 w 283"/>
                <a:gd name="T29" fmla="*/ 137 h 283"/>
                <a:gd name="T30" fmla="*/ 95 w 283"/>
                <a:gd name="T31" fmla="*/ 159 h 283"/>
                <a:gd name="T32" fmla="*/ 93 w 283"/>
                <a:gd name="T33" fmla="*/ 137 h 283"/>
                <a:gd name="T34" fmla="*/ 15 w 283"/>
                <a:gd name="T35" fmla="*/ 162 h 283"/>
                <a:gd name="T36" fmla="*/ 12 w 283"/>
                <a:gd name="T37" fmla="*/ 274 h 283"/>
                <a:gd name="T38" fmla="*/ 0 w 283"/>
                <a:gd name="T39" fmla="*/ 279 h 283"/>
                <a:gd name="T40" fmla="*/ 17 w 283"/>
                <a:gd name="T41" fmla="*/ 283 h 283"/>
                <a:gd name="T42" fmla="*/ 278 w 283"/>
                <a:gd name="T43" fmla="*/ 283 h 283"/>
                <a:gd name="T44" fmla="*/ 278 w 283"/>
                <a:gd name="T45" fmla="*/ 274 h 283"/>
                <a:gd name="T46" fmla="*/ 261 w 283"/>
                <a:gd name="T47" fmla="*/ 25 h 283"/>
                <a:gd name="T48" fmla="*/ 230 w 283"/>
                <a:gd name="T49" fmla="*/ 10 h 283"/>
                <a:gd name="T50" fmla="*/ 230 w 283"/>
                <a:gd name="T51" fmla="*/ 50 h 283"/>
                <a:gd name="T52" fmla="*/ 261 w 283"/>
                <a:gd name="T53" fmla="*/ 35 h 283"/>
                <a:gd name="T54" fmla="*/ 230 w 283"/>
                <a:gd name="T55" fmla="*/ 50 h 283"/>
                <a:gd name="T56" fmla="*/ 188 w 283"/>
                <a:gd name="T57" fmla="*/ 51 h 283"/>
                <a:gd name="T58" fmla="*/ 156 w 283"/>
                <a:gd name="T59" fmla="*/ 35 h 283"/>
                <a:gd name="T60" fmla="*/ 156 w 283"/>
                <a:gd name="T61" fmla="*/ 76 h 283"/>
                <a:gd name="T62" fmla="*/ 188 w 283"/>
                <a:gd name="T63" fmla="*/ 60 h 283"/>
                <a:gd name="T64" fmla="*/ 156 w 283"/>
                <a:gd name="T65" fmla="*/ 76 h 283"/>
                <a:gd name="T66" fmla="*/ 85 w 283"/>
                <a:gd name="T67" fmla="*/ 166 h 283"/>
                <a:gd name="T68" fmla="*/ 92 w 283"/>
                <a:gd name="T69" fmla="*/ 171 h 283"/>
                <a:gd name="T70" fmla="*/ 159 w 283"/>
                <a:gd name="T71" fmla="*/ 166 h 283"/>
                <a:gd name="T72" fmla="*/ 165 w 283"/>
                <a:gd name="T73" fmla="*/ 171 h 283"/>
                <a:gd name="T74" fmla="*/ 233 w 283"/>
                <a:gd name="T75" fmla="*/ 274 h 283"/>
                <a:gd name="T76" fmla="*/ 21 w 283"/>
                <a:gd name="T77" fmla="*/ 260 h 283"/>
                <a:gd name="T78" fmla="*/ 130 w 283"/>
                <a:gd name="T79" fmla="*/ 255 h 283"/>
                <a:gd name="T80" fmla="*/ 21 w 283"/>
                <a:gd name="T81" fmla="*/ 250 h 283"/>
                <a:gd name="T82" fmla="*/ 85 w 283"/>
                <a:gd name="T83" fmla="*/ 14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3" h="283">
                  <a:moveTo>
                    <a:pt x="278" y="274"/>
                  </a:moveTo>
                  <a:cubicBezTo>
                    <a:pt x="271" y="274"/>
                    <a:pt x="271" y="274"/>
                    <a:pt x="271" y="274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71" y="2"/>
                    <a:pt x="269" y="0"/>
                    <a:pt x="26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2" y="0"/>
                    <a:pt x="220" y="2"/>
                    <a:pt x="220" y="5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4"/>
                    <a:pt x="222" y="126"/>
                    <a:pt x="225" y="126"/>
                  </a:cubicBezTo>
                  <a:cubicBezTo>
                    <a:pt x="228" y="126"/>
                    <a:pt x="230" y="124"/>
                    <a:pt x="230" y="121"/>
                  </a:cubicBezTo>
                  <a:cubicBezTo>
                    <a:pt x="230" y="60"/>
                    <a:pt x="230" y="60"/>
                    <a:pt x="230" y="60"/>
                  </a:cubicBezTo>
                  <a:cubicBezTo>
                    <a:pt x="261" y="60"/>
                    <a:pt x="261" y="60"/>
                    <a:pt x="261" y="60"/>
                  </a:cubicBezTo>
                  <a:cubicBezTo>
                    <a:pt x="261" y="274"/>
                    <a:pt x="261" y="274"/>
                    <a:pt x="261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141"/>
                    <a:pt x="242" y="141"/>
                    <a:pt x="242" y="141"/>
                  </a:cubicBezTo>
                  <a:cubicBezTo>
                    <a:pt x="242" y="139"/>
                    <a:pt x="241" y="138"/>
                    <a:pt x="240" y="137"/>
                  </a:cubicBezTo>
                  <a:cubicBezTo>
                    <a:pt x="239" y="136"/>
                    <a:pt x="237" y="136"/>
                    <a:pt x="236" y="136"/>
                  </a:cubicBezTo>
                  <a:cubicBezTo>
                    <a:pt x="197" y="150"/>
                    <a:pt x="197" y="150"/>
                    <a:pt x="197" y="15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8"/>
                    <a:pt x="195" y="25"/>
                    <a:pt x="19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49" y="25"/>
                    <a:pt x="147" y="28"/>
                    <a:pt x="147" y="30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4"/>
                    <a:pt x="149" y="126"/>
                    <a:pt x="152" y="126"/>
                  </a:cubicBezTo>
                  <a:cubicBezTo>
                    <a:pt x="154" y="126"/>
                    <a:pt x="156" y="124"/>
                    <a:pt x="156" y="121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139"/>
                    <a:pt x="168" y="138"/>
                    <a:pt x="167" y="137"/>
                  </a:cubicBezTo>
                  <a:cubicBezTo>
                    <a:pt x="166" y="136"/>
                    <a:pt x="164" y="136"/>
                    <a:pt x="162" y="136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5" y="139"/>
                    <a:pt x="94" y="138"/>
                    <a:pt x="93" y="137"/>
                  </a:cubicBezTo>
                  <a:cubicBezTo>
                    <a:pt x="92" y="136"/>
                    <a:pt x="90" y="136"/>
                    <a:pt x="89" y="136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3" y="162"/>
                    <a:pt x="12" y="164"/>
                    <a:pt x="12" y="166"/>
                  </a:cubicBezTo>
                  <a:cubicBezTo>
                    <a:pt x="12" y="274"/>
                    <a:pt x="12" y="274"/>
                    <a:pt x="12" y="274"/>
                  </a:cubicBezTo>
                  <a:cubicBezTo>
                    <a:pt x="4" y="274"/>
                    <a:pt x="4" y="274"/>
                    <a:pt x="4" y="274"/>
                  </a:cubicBezTo>
                  <a:cubicBezTo>
                    <a:pt x="2" y="274"/>
                    <a:pt x="0" y="276"/>
                    <a:pt x="0" y="279"/>
                  </a:cubicBezTo>
                  <a:cubicBezTo>
                    <a:pt x="0" y="281"/>
                    <a:pt x="2" y="283"/>
                    <a:pt x="4" y="283"/>
                  </a:cubicBezTo>
                  <a:cubicBezTo>
                    <a:pt x="17" y="283"/>
                    <a:pt x="17" y="283"/>
                    <a:pt x="17" y="283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1" y="283"/>
                    <a:pt x="283" y="281"/>
                    <a:pt x="283" y="279"/>
                  </a:cubicBezTo>
                  <a:cubicBezTo>
                    <a:pt x="283" y="276"/>
                    <a:pt x="281" y="274"/>
                    <a:pt x="278" y="274"/>
                  </a:cubicBezTo>
                  <a:close/>
                  <a:moveTo>
                    <a:pt x="261" y="10"/>
                  </a:moveTo>
                  <a:cubicBezTo>
                    <a:pt x="261" y="25"/>
                    <a:pt x="261" y="25"/>
                    <a:pt x="261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10"/>
                    <a:pt x="230" y="10"/>
                    <a:pt x="230" y="10"/>
                  </a:cubicBezTo>
                  <a:lnTo>
                    <a:pt x="261" y="10"/>
                  </a:lnTo>
                  <a:close/>
                  <a:moveTo>
                    <a:pt x="230" y="50"/>
                  </a:moveTo>
                  <a:cubicBezTo>
                    <a:pt x="230" y="35"/>
                    <a:pt x="230" y="35"/>
                    <a:pt x="230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50"/>
                    <a:pt x="261" y="50"/>
                    <a:pt x="261" y="50"/>
                  </a:cubicBezTo>
                  <a:lnTo>
                    <a:pt x="230" y="50"/>
                  </a:lnTo>
                  <a:close/>
                  <a:moveTo>
                    <a:pt x="188" y="35"/>
                  </a:moveTo>
                  <a:cubicBezTo>
                    <a:pt x="188" y="51"/>
                    <a:pt x="188" y="51"/>
                    <a:pt x="188" y="51"/>
                  </a:cubicBezTo>
                  <a:cubicBezTo>
                    <a:pt x="156" y="51"/>
                    <a:pt x="156" y="51"/>
                    <a:pt x="156" y="51"/>
                  </a:cubicBezTo>
                  <a:cubicBezTo>
                    <a:pt x="156" y="35"/>
                    <a:pt x="156" y="35"/>
                    <a:pt x="156" y="35"/>
                  </a:cubicBezTo>
                  <a:lnTo>
                    <a:pt x="188" y="35"/>
                  </a:lnTo>
                  <a:close/>
                  <a:moveTo>
                    <a:pt x="156" y="76"/>
                  </a:moveTo>
                  <a:cubicBezTo>
                    <a:pt x="156" y="60"/>
                    <a:pt x="156" y="60"/>
                    <a:pt x="156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88" y="76"/>
                    <a:pt x="188" y="76"/>
                    <a:pt x="188" y="76"/>
                  </a:cubicBezTo>
                  <a:lnTo>
                    <a:pt x="156" y="76"/>
                  </a:lnTo>
                  <a:close/>
                  <a:moveTo>
                    <a:pt x="85" y="147"/>
                  </a:moveTo>
                  <a:cubicBezTo>
                    <a:pt x="85" y="166"/>
                    <a:pt x="85" y="166"/>
                    <a:pt x="85" y="166"/>
                  </a:cubicBezTo>
                  <a:cubicBezTo>
                    <a:pt x="85" y="168"/>
                    <a:pt x="86" y="169"/>
                    <a:pt x="87" y="170"/>
                  </a:cubicBezTo>
                  <a:cubicBezTo>
                    <a:pt x="89" y="171"/>
                    <a:pt x="90" y="171"/>
                    <a:pt x="92" y="171"/>
                  </a:cubicBezTo>
                  <a:cubicBezTo>
                    <a:pt x="159" y="147"/>
                    <a:pt x="159" y="147"/>
                    <a:pt x="159" y="147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8"/>
                    <a:pt x="160" y="169"/>
                    <a:pt x="161" y="170"/>
                  </a:cubicBezTo>
                  <a:cubicBezTo>
                    <a:pt x="162" y="171"/>
                    <a:pt x="164" y="171"/>
                    <a:pt x="165" y="171"/>
                  </a:cubicBezTo>
                  <a:cubicBezTo>
                    <a:pt x="233" y="147"/>
                    <a:pt x="233" y="147"/>
                    <a:pt x="233" y="147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8" y="260"/>
                    <a:pt x="130" y="257"/>
                    <a:pt x="130" y="255"/>
                  </a:cubicBezTo>
                  <a:cubicBezTo>
                    <a:pt x="130" y="252"/>
                    <a:pt x="128" y="250"/>
                    <a:pt x="126" y="250"/>
                  </a:cubicBezTo>
                  <a:cubicBezTo>
                    <a:pt x="21" y="250"/>
                    <a:pt x="21" y="250"/>
                    <a:pt x="21" y="250"/>
                  </a:cubicBezTo>
                  <a:cubicBezTo>
                    <a:pt x="21" y="169"/>
                    <a:pt x="21" y="169"/>
                    <a:pt x="21" y="169"/>
                  </a:cubicBezTo>
                  <a:lnTo>
                    <a:pt x="85" y="147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98"/>
            <p:cNvSpPr>
              <a:spLocks noEditPoints="1"/>
            </p:cNvSpPr>
            <p:nvPr/>
          </p:nvSpPr>
          <p:spPr bwMode="auto">
            <a:xfrm>
              <a:off x="-1511301" y="2960689"/>
              <a:ext cx="80963" cy="41275"/>
            </a:xfrm>
            <a:custGeom>
              <a:avLst/>
              <a:gdLst>
                <a:gd name="T0" fmla="*/ 5 w 61"/>
                <a:gd name="T1" fmla="*/ 32 h 32"/>
                <a:gd name="T2" fmla="*/ 57 w 61"/>
                <a:gd name="T3" fmla="*/ 32 h 32"/>
                <a:gd name="T4" fmla="*/ 61 w 61"/>
                <a:gd name="T5" fmla="*/ 27 h 32"/>
                <a:gd name="T6" fmla="*/ 61 w 61"/>
                <a:gd name="T7" fmla="*/ 5 h 32"/>
                <a:gd name="T8" fmla="*/ 57 w 61"/>
                <a:gd name="T9" fmla="*/ 0 h 32"/>
                <a:gd name="T10" fmla="*/ 5 w 61"/>
                <a:gd name="T11" fmla="*/ 0 h 32"/>
                <a:gd name="T12" fmla="*/ 0 w 61"/>
                <a:gd name="T13" fmla="*/ 5 h 32"/>
                <a:gd name="T14" fmla="*/ 0 w 61"/>
                <a:gd name="T15" fmla="*/ 27 h 32"/>
                <a:gd name="T16" fmla="*/ 5 w 61"/>
                <a:gd name="T17" fmla="*/ 32 h 32"/>
                <a:gd name="T18" fmla="*/ 10 w 61"/>
                <a:gd name="T19" fmla="*/ 10 h 32"/>
                <a:gd name="T20" fmla="*/ 52 w 61"/>
                <a:gd name="T21" fmla="*/ 10 h 32"/>
                <a:gd name="T22" fmla="*/ 52 w 61"/>
                <a:gd name="T23" fmla="*/ 23 h 32"/>
                <a:gd name="T24" fmla="*/ 10 w 61"/>
                <a:gd name="T25" fmla="*/ 23 h 32"/>
                <a:gd name="T26" fmla="*/ 10 w 61"/>
                <a:gd name="T2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2">
                  <a:moveTo>
                    <a:pt x="5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9" y="32"/>
                    <a:pt x="61" y="30"/>
                    <a:pt x="61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2"/>
                    <a:pt x="59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lose/>
                  <a:moveTo>
                    <a:pt x="10" y="10"/>
                  </a:moveTo>
                  <a:cubicBezTo>
                    <a:pt x="52" y="10"/>
                    <a:pt x="52" y="10"/>
                    <a:pt x="52" y="1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99"/>
            <p:cNvSpPr>
              <a:spLocks noEditPoints="1"/>
            </p:cNvSpPr>
            <p:nvPr/>
          </p:nvSpPr>
          <p:spPr bwMode="auto">
            <a:xfrm>
              <a:off x="-1363663" y="3013076"/>
              <a:ext cx="98425" cy="60325"/>
            </a:xfrm>
            <a:custGeom>
              <a:avLst/>
              <a:gdLst>
                <a:gd name="T0" fmla="*/ 5 w 75"/>
                <a:gd name="T1" fmla="*/ 46 h 46"/>
                <a:gd name="T2" fmla="*/ 10 w 75"/>
                <a:gd name="T3" fmla="*/ 42 h 46"/>
                <a:gd name="T4" fmla="*/ 10 w 75"/>
                <a:gd name="T5" fmla="*/ 41 h 46"/>
                <a:gd name="T6" fmla="*/ 65 w 75"/>
                <a:gd name="T7" fmla="*/ 41 h 46"/>
                <a:gd name="T8" fmla="*/ 65 w 75"/>
                <a:gd name="T9" fmla="*/ 42 h 46"/>
                <a:gd name="T10" fmla="*/ 70 w 75"/>
                <a:gd name="T11" fmla="*/ 46 h 46"/>
                <a:gd name="T12" fmla="*/ 75 w 75"/>
                <a:gd name="T13" fmla="*/ 42 h 46"/>
                <a:gd name="T14" fmla="*/ 75 w 75"/>
                <a:gd name="T15" fmla="*/ 5 h 46"/>
                <a:gd name="T16" fmla="*/ 70 w 75"/>
                <a:gd name="T17" fmla="*/ 0 h 46"/>
                <a:gd name="T18" fmla="*/ 5 w 75"/>
                <a:gd name="T19" fmla="*/ 0 h 46"/>
                <a:gd name="T20" fmla="*/ 0 w 75"/>
                <a:gd name="T21" fmla="*/ 5 h 46"/>
                <a:gd name="T22" fmla="*/ 0 w 75"/>
                <a:gd name="T23" fmla="*/ 42 h 46"/>
                <a:gd name="T24" fmla="*/ 5 w 75"/>
                <a:gd name="T25" fmla="*/ 46 h 46"/>
                <a:gd name="T26" fmla="*/ 10 w 75"/>
                <a:gd name="T27" fmla="*/ 31 h 46"/>
                <a:gd name="T28" fmla="*/ 10 w 75"/>
                <a:gd name="T29" fmla="*/ 26 h 46"/>
                <a:gd name="T30" fmla="*/ 65 w 75"/>
                <a:gd name="T31" fmla="*/ 26 h 46"/>
                <a:gd name="T32" fmla="*/ 65 w 75"/>
                <a:gd name="T33" fmla="*/ 31 h 46"/>
                <a:gd name="T34" fmla="*/ 10 w 75"/>
                <a:gd name="T35" fmla="*/ 31 h 46"/>
                <a:gd name="T36" fmla="*/ 65 w 75"/>
                <a:gd name="T37" fmla="*/ 10 h 46"/>
                <a:gd name="T38" fmla="*/ 65 w 75"/>
                <a:gd name="T39" fmla="*/ 16 h 46"/>
                <a:gd name="T40" fmla="*/ 10 w 75"/>
                <a:gd name="T41" fmla="*/ 16 h 46"/>
                <a:gd name="T42" fmla="*/ 10 w 75"/>
                <a:gd name="T43" fmla="*/ 10 h 46"/>
                <a:gd name="T44" fmla="*/ 65 w 75"/>
                <a:gd name="T45" fmla="*/ 1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46">
                  <a:moveTo>
                    <a:pt x="5" y="46"/>
                  </a:moveTo>
                  <a:cubicBezTo>
                    <a:pt x="8" y="46"/>
                    <a:pt x="10" y="44"/>
                    <a:pt x="10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4"/>
                    <a:pt x="67" y="46"/>
                    <a:pt x="70" y="46"/>
                  </a:cubicBezTo>
                  <a:cubicBezTo>
                    <a:pt x="73" y="46"/>
                    <a:pt x="75" y="44"/>
                    <a:pt x="75" y="4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3" y="46"/>
                    <a:pt x="5" y="46"/>
                  </a:cubicBezTo>
                  <a:close/>
                  <a:moveTo>
                    <a:pt x="10" y="31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10" y="31"/>
                  </a:lnTo>
                  <a:close/>
                  <a:moveTo>
                    <a:pt x="65" y="10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65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64641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4" name="Object 15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2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54" name="Object 15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" name="Rectangle 15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accent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altLang="ru-RU" dirty="0" err="1">
                <a:latin typeface="Arial" pitchFamily="34" charset="0"/>
                <a:cs typeface="Arial" pitchFamily="34" charset="0"/>
              </a:rPr>
              <a:t>Көрсетілетін</a:t>
            </a:r>
            <a:r>
              <a:rPr lang="ru-RU" altLang="ru-RU" dirty="0"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dirty="0" err="1">
                <a:latin typeface="Arial" pitchFamily="34" charset="0"/>
                <a:cs typeface="Arial" pitchFamily="34" charset="0"/>
              </a:rPr>
              <a:t>реттелетін</a:t>
            </a:r>
            <a:r>
              <a:rPr lang="ru-RU" altLang="ru-RU" dirty="0"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dirty="0" err="1">
                <a:latin typeface="Arial" pitchFamily="34" charset="0"/>
                <a:cs typeface="Arial" pitchFamily="34" charset="0"/>
              </a:rPr>
              <a:t>қызметтердің</a:t>
            </a:r>
            <a:r>
              <a:rPr lang="ru-RU" altLang="ru-RU" dirty="0"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dirty="0" err="1">
                <a:latin typeface="Arial" pitchFamily="34" charset="0"/>
                <a:cs typeface="Arial" pitchFamily="34" charset="0"/>
              </a:rPr>
              <a:t>сапасы</a:t>
            </a:r>
            <a:r>
              <a:rPr lang="ru-RU" altLang="ru-RU" dirty="0"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dirty="0" err="1">
                <a:latin typeface="Arial" pitchFamily="34" charset="0"/>
                <a:cs typeface="Arial" pitchFamily="34" charset="0"/>
              </a:rPr>
              <a:t>туралы</a:t>
            </a:r>
            <a:r>
              <a:rPr lang="ru-RU" altLang="ru-RU" dirty="0"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dirty="0" err="1">
                <a:latin typeface="Arial" pitchFamily="34" charset="0"/>
                <a:cs typeface="Arial" pitchFamily="34" charset="0"/>
              </a:rPr>
              <a:t>ақпарат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14324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4" name="Google Shape;478;p43"/>
          <p:cNvSpPr/>
          <p:nvPr/>
        </p:nvSpPr>
        <p:spPr>
          <a:xfrm>
            <a:off x="1903164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>
                <a:solidFill>
                  <a:schemeClr val="tx2"/>
                </a:solidFill>
                <a:sym typeface="Montserrat"/>
              </a:rPr>
              <a:t>01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22" name="Google Shape;506;p43"/>
          <p:cNvSpPr txBox="1"/>
          <p:nvPr/>
        </p:nvSpPr>
        <p:spPr>
          <a:xfrm>
            <a:off x="395919" y="2111156"/>
            <a:ext cx="1838050" cy="129266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МЕМСТ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әне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СанЕжЕ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: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ауыз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судың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құрамы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мен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сапасы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,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салқындатқыштың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параметрлері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,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температуралық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режимдерді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реттейді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82" name="Google Shape;506;p43"/>
          <p:cNvSpPr txBox="1"/>
          <p:nvPr/>
        </p:nvSpPr>
        <p:spPr>
          <a:xfrm>
            <a:off x="2381608" y="2123043"/>
            <a:ext cx="1573289" cy="73866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err="1">
                <a:solidFill>
                  <a:schemeClr val="tx1"/>
                </a:solidFill>
                <a:sym typeface="Open Sans"/>
              </a:rPr>
              <a:t>Техникалық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пайдалан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ережелері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: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инженерлік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үйелер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мен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абдықтар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үші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314324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9" name="Google Shape;478;p43"/>
          <p:cNvSpPr/>
          <p:nvPr/>
        </p:nvSpPr>
        <p:spPr>
          <a:xfrm>
            <a:off x="1903164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6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01" name="Google Shape;506;p43"/>
          <p:cNvSpPr txBox="1"/>
          <p:nvPr/>
        </p:nvSpPr>
        <p:spPr>
          <a:xfrm>
            <a:off x="433033" y="3919016"/>
            <a:ext cx="1688741" cy="73866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err="1">
                <a:solidFill>
                  <a:schemeClr val="tx1"/>
                </a:solidFill>
                <a:sym typeface="Open Sans"/>
              </a:rPr>
              <a:t>Энергияны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үнемдейті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абдықтар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мен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технологияларды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пайдалан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02" name="Google Shape;506;p43"/>
          <p:cNvSpPr txBox="1"/>
          <p:nvPr/>
        </p:nvSpPr>
        <p:spPr>
          <a:xfrm>
            <a:off x="2269413" y="3919016"/>
            <a:ext cx="1688741" cy="73866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err="1">
                <a:solidFill>
                  <a:schemeClr val="tx1"/>
                </a:solidFill>
                <a:sym typeface="Open Sans"/>
              </a:rPr>
              <a:t>Жеткізудің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барлық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кезеңдерінде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су мен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ыл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шығыны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бақыла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4217988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08" name="Google Shape;478;p43"/>
          <p:cNvSpPr/>
          <p:nvPr/>
        </p:nvSpPr>
        <p:spPr>
          <a:xfrm>
            <a:off x="5806828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2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10" name="Google Shape;506;p43"/>
          <p:cNvSpPr txBox="1"/>
          <p:nvPr/>
        </p:nvSpPr>
        <p:spPr>
          <a:xfrm>
            <a:off x="4333440" y="2090426"/>
            <a:ext cx="1688741" cy="73866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Суды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зертханалық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талда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: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нормаларға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сәйкестігі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тексер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үші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үнемі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үргізіледі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1" name="Google Shape;506;p43"/>
          <p:cNvSpPr txBox="1"/>
          <p:nvPr/>
        </p:nvSpPr>
        <p:spPr>
          <a:xfrm>
            <a:off x="6169820" y="2090426"/>
            <a:ext cx="1688741" cy="73866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err="1">
                <a:solidFill>
                  <a:schemeClr val="tx1"/>
                </a:solidFill>
                <a:sym typeface="Open Sans"/>
              </a:rPr>
              <a:t>Жыл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елілеріндегі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әне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ыл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көздеріне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шығаты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температура мен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қысымды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бақыла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4217988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16" name="Google Shape;478;p43"/>
          <p:cNvSpPr/>
          <p:nvPr/>
        </p:nvSpPr>
        <p:spPr>
          <a:xfrm>
            <a:off x="5806828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5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18" name="Google Shape;506;p43"/>
          <p:cNvSpPr txBox="1"/>
          <p:nvPr/>
        </p:nvSpPr>
        <p:spPr>
          <a:xfrm>
            <a:off x="4333440" y="3936287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err="1">
                <a:solidFill>
                  <a:schemeClr val="tx1"/>
                </a:solidFill>
                <a:sym typeface="Open Sans"/>
              </a:rPr>
              <a:t>Шағымдар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мен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өтініштерге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едел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де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қою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9" name="Google Shape;506;p43"/>
          <p:cNvSpPr txBox="1"/>
          <p:nvPr/>
        </p:nvSpPr>
        <p:spPr>
          <a:xfrm>
            <a:off x="6169820" y="3936287"/>
            <a:ext cx="1688741" cy="73866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err="1">
                <a:solidFill>
                  <a:schemeClr val="tx1"/>
                </a:solidFill>
                <a:sym typeface="Open Sans"/>
              </a:rPr>
              <a:t>Түсіндір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ұмыстары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үргіз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әне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қызметтер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туралы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ашық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ақпарат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беру.</a:t>
            </a:r>
          </a:p>
        </p:txBody>
      </p:sp>
      <p:sp>
        <p:nvSpPr>
          <p:cNvPr id="123" name="Rectangle 122"/>
          <p:cNvSpPr/>
          <p:nvPr/>
        </p:nvSpPr>
        <p:spPr>
          <a:xfrm>
            <a:off x="8123238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24" name="Google Shape;478;p43"/>
          <p:cNvSpPr/>
          <p:nvPr/>
        </p:nvSpPr>
        <p:spPr>
          <a:xfrm>
            <a:off x="9712078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3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26" name="Google Shape;506;p43"/>
          <p:cNvSpPr txBox="1"/>
          <p:nvPr/>
        </p:nvSpPr>
        <p:spPr>
          <a:xfrm>
            <a:off x="8235433" y="2111156"/>
            <a:ext cx="1836380" cy="147732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err="1">
                <a:solidFill>
                  <a:schemeClr val="tx1"/>
                </a:solidFill>
                <a:sym typeface="Open Sans"/>
              </a:rPr>
              <a:t>Желілерге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тұрақты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техникалық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қызмет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көрсет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әне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өнде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.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абдықты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аңарт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,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тозға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құбырлар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мен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ыл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алмастырғыштарды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ауыстыр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27" name="Google Shape;506;p43"/>
          <p:cNvSpPr txBox="1"/>
          <p:nvPr/>
        </p:nvSpPr>
        <p:spPr>
          <a:xfrm>
            <a:off x="10071813" y="2156661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err="1">
                <a:solidFill>
                  <a:schemeClr val="tx1"/>
                </a:solidFill>
                <a:sym typeface="Open Sans"/>
              </a:rPr>
              <a:t>Басқар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үйелері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автоматтандыр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әне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диспетчерле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.</a:t>
            </a:r>
          </a:p>
        </p:txBody>
      </p:sp>
      <p:sp>
        <p:nvSpPr>
          <p:cNvPr id="131" name="Rectangle 130"/>
          <p:cNvSpPr/>
          <p:nvPr/>
        </p:nvSpPr>
        <p:spPr>
          <a:xfrm>
            <a:off x="8123238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32" name="Google Shape;478;p43"/>
          <p:cNvSpPr/>
          <p:nvPr/>
        </p:nvSpPr>
        <p:spPr>
          <a:xfrm>
            <a:off x="9712078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4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34" name="Google Shape;506;p43"/>
          <p:cNvSpPr txBox="1"/>
          <p:nvPr/>
        </p:nvSpPr>
        <p:spPr>
          <a:xfrm>
            <a:off x="8235433" y="3888599"/>
            <a:ext cx="1629499" cy="129266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err="1">
                <a:solidFill>
                  <a:schemeClr val="tx1"/>
                </a:solidFill>
                <a:sym typeface="Open Sans"/>
              </a:rPr>
              <a:t>Суме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әне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ылуме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абдықта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объектілерінде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ұмыс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істейті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мамандарды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даярла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әне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сертификатта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.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Аттестаттау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35" name="Google Shape;506;p43"/>
          <p:cNvSpPr txBox="1"/>
          <p:nvPr/>
        </p:nvSpPr>
        <p:spPr>
          <a:xfrm>
            <a:off x="10071813" y="3888599"/>
            <a:ext cx="1688741" cy="110799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err="1">
                <a:solidFill>
                  <a:schemeClr val="tx1"/>
                </a:solidFill>
                <a:sym typeface="Open Sans"/>
              </a:rPr>
              <a:t>Мерзімді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біліктілікті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арттыр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ИТЖ,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шеберлер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мен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операторлар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үші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міндетті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болып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табылады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cxnSp>
        <p:nvCxnSpPr>
          <p:cNvPr id="140" name="Straight Connector 139"/>
          <p:cNvCxnSpPr>
            <a:stCxn id="5" idx="3"/>
            <a:endCxn id="107" idx="1"/>
          </p:cNvCxnSpPr>
          <p:nvPr/>
        </p:nvCxnSpPr>
        <p:spPr>
          <a:xfrm>
            <a:off x="4070349" y="2545725"/>
            <a:ext cx="147639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2" name="Straight Connector 141"/>
          <p:cNvCxnSpPr>
            <a:stCxn id="107" idx="3"/>
            <a:endCxn id="123" idx="1"/>
          </p:cNvCxnSpPr>
          <p:nvPr/>
        </p:nvCxnSpPr>
        <p:spPr>
          <a:xfrm>
            <a:off x="7974013" y="2545725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4" name="Straight Connector 143"/>
          <p:cNvCxnSpPr>
            <a:stCxn id="131" idx="1"/>
            <a:endCxn id="115" idx="3"/>
          </p:cNvCxnSpPr>
          <p:nvPr/>
        </p:nvCxnSpPr>
        <p:spPr>
          <a:xfrm flipH="1">
            <a:off x="7974013" y="4351385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6" name="Straight Connector 145"/>
          <p:cNvCxnSpPr>
            <a:stCxn id="115" idx="1"/>
            <a:endCxn id="98" idx="3"/>
          </p:cNvCxnSpPr>
          <p:nvPr/>
        </p:nvCxnSpPr>
        <p:spPr>
          <a:xfrm flipH="1">
            <a:off x="4070349" y="4351385"/>
            <a:ext cx="147639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8" name="Straight Connector 147"/>
          <p:cNvCxnSpPr/>
          <p:nvPr/>
        </p:nvCxnSpPr>
        <p:spPr>
          <a:xfrm>
            <a:off x="11554182" y="3308350"/>
            <a:ext cx="0" cy="280409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sp>
        <p:nvSpPr>
          <p:cNvPr id="48" name="Rectangle 47"/>
          <p:cNvSpPr/>
          <p:nvPr/>
        </p:nvSpPr>
        <p:spPr>
          <a:xfrm>
            <a:off x="0" y="5558844"/>
            <a:ext cx="12192000" cy="691817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 err="1">
                <a:solidFill>
                  <a:schemeClr val="bg1"/>
                </a:solidFill>
              </a:rPr>
              <a:t>Реттелетін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қызметтер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мемлекеттік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органдар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өз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құзыреті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шегінде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белгілеген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сапаға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қойылатын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талаптарды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ескере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отырып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көрсетіледі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0" name="Freeform 223"/>
          <p:cNvSpPr>
            <a:spLocks noEditPoints="1"/>
          </p:cNvSpPr>
          <p:nvPr/>
        </p:nvSpPr>
        <p:spPr bwMode="auto">
          <a:xfrm>
            <a:off x="3540549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223"/>
          <p:cNvSpPr>
            <a:spLocks noEditPoints="1"/>
          </p:cNvSpPr>
          <p:nvPr/>
        </p:nvSpPr>
        <p:spPr bwMode="auto">
          <a:xfrm>
            <a:off x="7444213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Freeform 223"/>
          <p:cNvSpPr>
            <a:spLocks noEditPoints="1"/>
          </p:cNvSpPr>
          <p:nvPr/>
        </p:nvSpPr>
        <p:spPr bwMode="auto">
          <a:xfrm>
            <a:off x="11349463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Freeform 223"/>
          <p:cNvSpPr>
            <a:spLocks noEditPoints="1"/>
          </p:cNvSpPr>
          <p:nvPr/>
        </p:nvSpPr>
        <p:spPr bwMode="auto">
          <a:xfrm>
            <a:off x="3540549" y="468809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Freeform 223"/>
          <p:cNvSpPr>
            <a:spLocks noEditPoints="1"/>
          </p:cNvSpPr>
          <p:nvPr/>
        </p:nvSpPr>
        <p:spPr bwMode="auto">
          <a:xfrm>
            <a:off x="7444213" y="468809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Freeform 223"/>
          <p:cNvSpPr>
            <a:spLocks noEditPoints="1"/>
          </p:cNvSpPr>
          <p:nvPr/>
        </p:nvSpPr>
        <p:spPr bwMode="auto">
          <a:xfrm>
            <a:off x="11349463" y="486081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TextBox 60"/>
          <p:cNvSpPr txBox="1"/>
          <p:nvPr/>
        </p:nvSpPr>
        <p:spPr>
          <a:xfrm>
            <a:off x="370358" y="1149983"/>
            <a:ext cx="7767587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 err="1"/>
              <a:t>Көрсетілетін</a:t>
            </a:r>
            <a:r>
              <a:rPr lang="ru-RU" sz="1600" dirty="0"/>
              <a:t> </a:t>
            </a:r>
            <a:r>
              <a:rPr lang="ru-RU" sz="1600" dirty="0" err="1"/>
              <a:t>қызметтердің</a:t>
            </a:r>
            <a:r>
              <a:rPr lang="ru-RU" sz="1600" dirty="0"/>
              <a:t> </a:t>
            </a:r>
            <a:r>
              <a:rPr lang="ru-RU" sz="1600" dirty="0" err="1"/>
              <a:t>сапасы</a:t>
            </a:r>
            <a:r>
              <a:rPr lang="ru-RU" sz="1600" dirty="0"/>
              <a:t> </a:t>
            </a:r>
            <a:r>
              <a:rPr lang="ru-RU" sz="1600" dirty="0" err="1"/>
              <a:t>қамтамасыз</a:t>
            </a:r>
            <a:r>
              <a:rPr lang="ru-RU" sz="1600" dirty="0"/>
              <a:t> </a:t>
            </a:r>
            <a:r>
              <a:rPr lang="ru-RU" sz="1600" dirty="0" err="1" smtClean="0"/>
              <a:t>етіледі</a:t>
            </a:r>
            <a:r>
              <a:rPr lang="ru-RU" sz="1600" dirty="0" smtClean="0"/>
              <a:t>:</a:t>
            </a:r>
            <a:endParaRPr lang="ru-RU" sz="1600" dirty="0"/>
          </a:p>
        </p:txBody>
      </p:sp>
      <p:sp>
        <p:nvSpPr>
          <p:cNvPr id="4" name="TextBox 3"/>
          <p:cNvSpPr txBox="1"/>
          <p:nvPr/>
        </p:nvSpPr>
        <p:spPr>
          <a:xfrm>
            <a:off x="686119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err="1">
                <a:solidFill>
                  <a:schemeClr val="accent1"/>
                </a:solidFill>
                <a:sym typeface="Open Sans"/>
              </a:rPr>
              <a:t>Нормативтік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</a:t>
            </a:r>
            <a:r>
              <a:rPr lang="ru-RU" sz="1200" dirty="0" err="1">
                <a:solidFill>
                  <a:schemeClr val="accent1"/>
                </a:solidFill>
                <a:sym typeface="Open Sans"/>
              </a:rPr>
              <a:t>талаптарды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</a:t>
            </a:r>
            <a:r>
              <a:rPr lang="ru-RU" sz="1200" dirty="0" err="1">
                <a:solidFill>
                  <a:schemeClr val="accent1"/>
                </a:solidFill>
                <a:sym typeface="Open Sans"/>
              </a:rPr>
              <a:t>сақтау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518502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err="1" smtClean="0">
                <a:solidFill>
                  <a:schemeClr val="accent1"/>
                </a:solidFill>
                <a:sym typeface="Open Sans"/>
              </a:rPr>
              <a:t>Сапаны</a:t>
            </a:r>
            <a:r>
              <a:rPr lang="ru-RU" sz="1200" dirty="0" smtClean="0">
                <a:solidFill>
                  <a:schemeClr val="accent1"/>
                </a:solidFill>
                <a:sym typeface="Open Sans"/>
              </a:rPr>
              <a:t> </a:t>
            </a:r>
            <a:r>
              <a:rPr lang="ru-RU" sz="1200" dirty="0" err="1" smtClean="0">
                <a:solidFill>
                  <a:schemeClr val="accent1"/>
                </a:solidFill>
                <a:sym typeface="Open Sans"/>
              </a:rPr>
              <a:t>бақылау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8292249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err="1">
                <a:solidFill>
                  <a:schemeClr val="accent1"/>
                </a:solidFill>
                <a:sym typeface="Open Sans"/>
              </a:rPr>
              <a:t>Инфрақұрылымның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</a:t>
            </a:r>
            <a:r>
              <a:rPr lang="ru-RU" sz="1200" dirty="0" err="1">
                <a:solidFill>
                  <a:schemeClr val="accent1"/>
                </a:solidFill>
                <a:sym typeface="Open Sans"/>
              </a:rPr>
              <a:t>сенімділігі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мен </a:t>
            </a:r>
            <a:r>
              <a:rPr lang="ru-RU" sz="1200" dirty="0" err="1">
                <a:solidFill>
                  <a:schemeClr val="accent1"/>
                </a:solidFill>
                <a:sym typeface="Open Sans"/>
              </a:rPr>
              <a:t>жағдайы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8344137" y="3703933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err="1">
                <a:solidFill>
                  <a:schemeClr val="accent1"/>
                </a:solidFill>
                <a:sym typeface="Open Sans"/>
              </a:rPr>
              <a:t>Персоналдың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</a:t>
            </a:r>
            <a:r>
              <a:rPr lang="ru-RU" sz="1200" dirty="0" err="1">
                <a:solidFill>
                  <a:schemeClr val="accent1"/>
                </a:solidFill>
                <a:sym typeface="Open Sans"/>
              </a:rPr>
              <a:t>біліктілігі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4461611" y="3707531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err="1" smtClean="0">
                <a:solidFill>
                  <a:schemeClr val="accent1"/>
                </a:solidFill>
                <a:sym typeface="Open Sans"/>
              </a:rPr>
              <a:t>Тұтынушылармен</a:t>
            </a:r>
            <a:r>
              <a:rPr lang="ru-RU" sz="1200" dirty="0" smtClean="0">
                <a:solidFill>
                  <a:schemeClr val="accent1"/>
                </a:solidFill>
                <a:sym typeface="Open Sans"/>
              </a:rPr>
              <a:t> </a:t>
            </a:r>
            <a:r>
              <a:rPr lang="ru-RU" sz="1200" dirty="0" err="1" smtClean="0">
                <a:solidFill>
                  <a:schemeClr val="accent1"/>
                </a:solidFill>
                <a:sym typeface="Open Sans"/>
              </a:rPr>
              <a:t>жұмыс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35154" y="3703933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err="1">
                <a:solidFill>
                  <a:schemeClr val="accent1"/>
                </a:solidFill>
                <a:sym typeface="Open Sans"/>
              </a:rPr>
              <a:t>Энергияны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</a:t>
            </a:r>
            <a:r>
              <a:rPr lang="ru-RU" sz="1200" dirty="0" err="1">
                <a:solidFill>
                  <a:schemeClr val="accent1"/>
                </a:solidFill>
                <a:sym typeface="Open Sans"/>
              </a:rPr>
              <a:t>үнемдеу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</a:t>
            </a:r>
            <a:r>
              <a:rPr lang="ru-RU" sz="1200" dirty="0" err="1">
                <a:solidFill>
                  <a:schemeClr val="accent1"/>
                </a:solidFill>
                <a:sym typeface="Open Sans"/>
              </a:rPr>
              <a:t>және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ресурс </a:t>
            </a:r>
            <a:r>
              <a:rPr lang="ru-RU" sz="1200" dirty="0" err="1">
                <a:solidFill>
                  <a:schemeClr val="accent1"/>
                </a:solidFill>
                <a:sym typeface="Open Sans"/>
              </a:rPr>
              <a:t>тиімділігі</a:t>
            </a:r>
            <a:endParaRPr lang="ru-RU" sz="1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304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7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ORyl.nSg2QMSGFH9PC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c06wN.GEd8n7ZgumBB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EqUc1fpQa_hDO3bSv8P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ayRfDUbHSgL2cErPVsp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3QJQ30t2c4hCOLPhjhq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qB1mxpEj73zZ7Vsxf6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0iuf7468dNCTxmqjAYD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bHigGcq_zUwLE2fEAr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o5uPtJEfWRdWU_Dumf5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rIzTH.1Tbv1TNEdDbHC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EiJ3GOpBNnSi91kXZ26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JdWte7Ic4qlI5I5iNC0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TgpPwRGKOrXEkQzJrOL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s7YjwqsdLH_gxb8Gvob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WMgEqFVDr.arUCIRIrK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BKNrSrdP5jmFSH3HkXV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iYzPKUFD3LuIyFcsE4z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wDDLyMsd5v_HzBGddN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cXBGRS27uruUYwTep8j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YFwbZqenuaMbwrnhamk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x3gsObGqnI3Eh9emzaq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wvHMqbHMwQ2f.Eg3Hw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LKTCLTHOBehd453uwsD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uc4vo7353_9.GhtK6f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OTCfew4SAlNHfT93g5S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VYNZPJS.QEb_617ZS3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V2MeIpVQWcyGkwT_C7a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ew723Tgr7RMg7mGNjlz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jdgfvQNwhh4SOE_1n_k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LWb6iCBvSVbq_L8k7Kc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Ou_t3_W7H.D66WEtkCy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tVLY0rDZdo6Hz9n9dfF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4GgFWNwTAbn7bg9MJQ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Y.Rbxdsz2J_ZjimrSqG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UnSHX4aqZOr9qg651u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bSbyulMNPSoB2Kb0nCR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6IZAggvefxRxYg4mNU6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8CPwFD3GRzt.5oK2NWl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794720A19038744BE4039F7392C9B77" ma:contentTypeVersion="10" ma:contentTypeDescription="Создание документа." ma:contentTypeScope="" ma:versionID="30c03a8721c12eacc24a4a6a7491c3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4.xml><?xml version="1.0" encoding="utf-8"?>
<?mso-contentType ?>
<spe:Receivers xmlns:spe="http://schemas.microsoft.com/sharepoint/events">
  <Receiver>
    <Name>Policy Auditing</Name>
    <Synchronization>Synchronous</Synchronization>
    <Type>10001</Type>
    <SequenceNumber>1100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2</Type>
    <SequenceNumber>1101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4</Type>
    <SequenceNumber>1102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6</Type>
    <SequenceNumber>1103</SequenceNumber>
    <Url/>
    <Assembly>Microsoft.Office.Policy, Version=15.0.0.0, Culture=neutral, PublicKeyToken=71e9bce111e9429c</Assembly>
    <Class>Microsoft.Office.RecordsManagement.Internal.AuditHandler</Class>
    <Data/>
    <Filter/>
  </Receiver>
</spe:Receiver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5EE0E1E-0B15-4740-95FC-5FF232746345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06531CA-FA80-4FC1-8E6B-983EC72D86E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B47B0B24-AEBA-4DFF-94F2-E519378CA232}">
  <ds:schemaRefs>
    <ds:schemaRef ds:uri="http://schemas.microsoft.com/office/2006/metadata/customXsn"/>
  </ds:schemaRefs>
</ds:datastoreItem>
</file>

<file path=customXml/itemProps4.xml><?xml version="1.0" encoding="utf-8"?>
<ds:datastoreItem xmlns:ds="http://schemas.openxmlformats.org/officeDocument/2006/customXml" ds:itemID="{7D9BF692-53D4-4DEC-8282-250BB9170889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B7BC26CC-B2F1-4088-B519-35393224FB8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9402</TotalTime>
  <Words>2257</Words>
  <Application>Microsoft Office PowerPoint</Application>
  <PresentationFormat>Широкоэкранный</PresentationFormat>
  <Paragraphs>581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2" baseType="lpstr">
      <vt:lpstr>Arial</vt:lpstr>
      <vt:lpstr>Arial (Основной текст)</vt:lpstr>
      <vt:lpstr>Calibri</vt:lpstr>
      <vt:lpstr>Montserrat</vt:lpstr>
      <vt:lpstr>Open Sans</vt:lpstr>
      <vt:lpstr>Segoe UI Semibold</vt:lpstr>
      <vt:lpstr>Times New Roman</vt:lpstr>
      <vt:lpstr>Wingdings</vt:lpstr>
      <vt:lpstr>ERG</vt:lpstr>
      <vt:lpstr>Слайд think-cell</vt:lpstr>
      <vt:lpstr>Презентация PowerPoint</vt:lpstr>
      <vt:lpstr>ЕЭК:  Табиғи монополия субъектісі туралы жалпы ақпарат</vt:lpstr>
      <vt:lpstr>ЕЭК: 2025 жылдың қорытындысы бойынша 2025 жылға бекітілген инвестициялық бағдарламаның орындалуы туралы ақпарат</vt:lpstr>
      <vt:lpstr>ЕЭК: 2025 жылғы жылу энергиясын өндіру бойынша бекітілген тарифтік сметаның бап бойынша орындалуы туралы ақпарат</vt:lpstr>
      <vt:lpstr>ЕЭК: 2025 жылғы жылу энергиясын өндіру бойынша бекітілген тарифтік сметаның бап бойынша орындалуы туралы есеп</vt:lpstr>
      <vt:lpstr>ЕЭК: Реттелетін қызметтердің сапасы мен сенімділігі көрсеткіштерінің сақталуы және 2025 жылғы қызмет тиімділігінің көрсеткіштеріне қол жеткізу туралы ақпарат</vt:lpstr>
      <vt:lpstr>ЕЭК: 2025 жылғы негізгі қаржы-экономикалық көрсеткіштер және жылу энергиясын өндіру бойынша көрсетілген қызметтердің көлемі туралы ақпарат</vt:lpstr>
      <vt:lpstr>ЕЭК: Реттеліп көрсетілетін қызметтерді тұтынушылармен жүргізілетін жұмыс туралы ақпарат</vt:lpstr>
      <vt:lpstr>Көрсетілетін реттелетін қызметтердің сапасы туралы ақпарат</vt:lpstr>
      <vt:lpstr> ЕЭК: Қызмет перспективалары (даму жоспарлары), оның ішінде тарифтердің ықтимал өзгерістері  </vt:lpstr>
      <vt:lpstr>Көрсетілетін қызмет туралы ақпарат – тарату желілері бойынша су беру (қуаты аз)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aria Donchenko</dc:creator>
  <cp:lastModifiedBy>Yelena Kochetkova</cp:lastModifiedBy>
  <cp:revision>1442</cp:revision>
  <cp:lastPrinted>2024-04-24T05:02:58Z</cp:lastPrinted>
  <dcterms:created xsi:type="dcterms:W3CDTF">2017-11-25T12:09:27Z</dcterms:created>
  <dcterms:modified xsi:type="dcterms:W3CDTF">2026-04-16T04:35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94720A19038744BE4039F7392C9B77</vt:lpwstr>
  </property>
</Properties>
</file>